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21" r:id="rId1"/>
  </p:sldMasterIdLst>
  <p:sldIdLst>
    <p:sldId id="256" r:id="rId2"/>
    <p:sldId id="257" r:id="rId3"/>
    <p:sldId id="259" r:id="rId4"/>
    <p:sldId id="262" r:id="rId5"/>
    <p:sldId id="261" r:id="rId6"/>
  </p:sldIdLst>
  <p:sldSz cx="9906000" cy="6858000" type="A4"/>
  <p:notesSz cx="9144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1100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2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sv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sv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sv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Title Sub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39666D-68C7-422A-9B9A-CAD7324D6E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6231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39666D-68C7-422A-9B9A-CAD7324D6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Текст 24">
            <a:extLst>
              <a:ext uri="{FF2B5EF4-FFF2-40B4-BE49-F238E27FC236}">
                <a16:creationId xmlns:a16="http://schemas.microsoft.com/office/drawing/2014/main" id="{5E84DFE0-C810-F5DC-5236-27B09171A3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09819" y="2392769"/>
            <a:ext cx="9285203" cy="3961993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F41FA8A1-0FF2-479A-A8A0-4E5F1855F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8" y="565981"/>
            <a:ext cx="9286364" cy="838177"/>
          </a:xfrm>
          <a:prstGeom prst="rect">
            <a:avLst/>
          </a:prstGeom>
        </p:spPr>
        <p:txBody>
          <a:bodyPr vert="horz"/>
          <a:lstStyle>
            <a:lvl1pPr>
              <a:defRPr sz="2400" spc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4" name="Текст 24">
            <a:extLst>
              <a:ext uri="{FF2B5EF4-FFF2-40B4-BE49-F238E27FC236}">
                <a16:creationId xmlns:a16="http://schemas.microsoft.com/office/drawing/2014/main" id="{6F17F5F8-E48D-4098-90AD-D573C460F1A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Текст 24">
            <a:extLst>
              <a:ext uri="{FF2B5EF4-FFF2-40B4-BE49-F238E27FC236}">
                <a16:creationId xmlns:a16="http://schemas.microsoft.com/office/drawing/2014/main" id="{09B25449-0458-4C43-9891-482F8824D4D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1A352B-731B-4AA5-BB76-2212641FA40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09563" y="1576388"/>
            <a:ext cx="9286875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0767232F-9F62-4D49-9A72-A8411CAEFE0B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D391C3-23A8-4424-85B9-E431F113C082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3784FB-287E-4B94-A829-ACE7E9E2C88D}"/>
              </a:ext>
            </a:extLst>
          </p:cNvPr>
          <p:cNvSpPr>
            <a:spLocks noGrp="1"/>
          </p:cNvSpPr>
          <p:nvPr>
            <p:ph type="dt" sz="half" idx="37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31A9D956-A766-4795-A8D1-3BFC1184EE6E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73EC7C0-94ED-4C7A-9149-5F8C697BFF5C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/>
              <a:t>Конфиденциально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2C41F-0C2F-4F09-80FA-F3084E045196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05175604"/>
      </p:ext>
    </p:extLst>
  </p:cSld>
  <p:clrMapOvr>
    <a:masterClrMapping/>
  </p:clrMapOvr>
  <p:transition>
    <p:fade/>
  </p:transition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picture 1 white f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B6F491B-81EF-4D94-B6AF-4D660A27702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1" y="-1"/>
            <a:ext cx="9906000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>
              <a:defRPr lang="ru-RU" sz="1482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ru-RU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E5ED967-C86F-4BC9-AD19-135E10F95A17}"/>
              </a:ext>
            </a:extLst>
          </p:cNvPr>
          <p:cNvSpPr/>
          <p:nvPr/>
        </p:nvSpPr>
        <p:spPr>
          <a:xfrm>
            <a:off x="2581" y="-1"/>
            <a:ext cx="6407919" cy="6858000"/>
          </a:xfrm>
          <a:prstGeom prst="rect">
            <a:avLst/>
          </a:prstGeom>
          <a:gradFill>
            <a:gsLst>
              <a:gs pos="78000">
                <a:schemeClr val="accent1">
                  <a:alpha val="0"/>
                </a:schemeClr>
              </a:gs>
              <a:gs pos="10000">
                <a:schemeClr val="accent1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defTabSz="741921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</a:pPr>
            <a:endParaRPr lang="en-GB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8BEFF77-3C5A-4FE8-B088-B07A7944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5702114"/>
              </p:ext>
            </p:extLst>
          </p:nvPr>
        </p:nvGraphicFramePr>
        <p:xfrm>
          <a:off x="1291" y="1589"/>
          <a:ext cx="129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206" name="think-cell Slide" r:id="rId4" imgW="479" imgH="481" progId="TCLayout.ActiveDocument.1">
                  <p:embed/>
                </p:oleObj>
              </mc:Choice>
              <mc:Fallback>
                <p:oleObj name="think-cell Slide" r:id="rId4" imgW="479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8BEFF77-3C5A-4FE8-B088-B07A7944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ECEFA1B9-DBCE-4785-876F-53A890CA5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2" y="941907"/>
            <a:ext cx="6911497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800" dirty="0">
                <a:solidFill>
                  <a:schemeClr val="bg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4" name="Дата 2">
            <a:extLst>
              <a:ext uri="{FF2B5EF4-FFF2-40B4-BE49-F238E27FC236}">
                <a16:creationId xmlns:a16="http://schemas.microsoft.com/office/drawing/2014/main" id="{89C22867-4CDC-4597-B0AD-CD161EA6AC8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25" name="Текст 10">
            <a:extLst>
              <a:ext uri="{FF2B5EF4-FFF2-40B4-BE49-F238E27FC236}">
                <a16:creationId xmlns:a16="http://schemas.microsoft.com/office/drawing/2014/main" id="{FEAEEB08-91E7-4E64-BF37-A996585EB2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8454" y="3428999"/>
            <a:ext cx="4527852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chemeClr val="bg1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0D37018-3734-4947-9ED3-FFF79D5D4C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3932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icture 1 grey f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B6F491B-81EF-4D94-B6AF-4D660A27702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581" y="-1"/>
            <a:ext cx="9906000" cy="68580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>
              <a:defRPr lang="ru-RU" sz="1482"/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  <a:endParaRPr lang="ru-RU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2E5ED967-C86F-4BC9-AD19-135E10F95A17}"/>
              </a:ext>
            </a:extLst>
          </p:cNvPr>
          <p:cNvSpPr/>
          <p:nvPr/>
        </p:nvSpPr>
        <p:spPr>
          <a:xfrm>
            <a:off x="2581" y="-1"/>
            <a:ext cx="6407919" cy="6858000"/>
          </a:xfrm>
          <a:prstGeom prst="rect">
            <a:avLst/>
          </a:prstGeom>
          <a:gradFill>
            <a:gsLst>
              <a:gs pos="78000">
                <a:schemeClr val="accent1">
                  <a:alpha val="0"/>
                </a:schemeClr>
              </a:gs>
              <a:gs pos="10000">
                <a:schemeClr val="accent1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defTabSz="741921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</a:pPr>
            <a:endParaRPr lang="en-GB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8BEFF77-3C5A-4FE8-B088-B07A7944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9005798"/>
              </p:ext>
            </p:extLst>
          </p:nvPr>
        </p:nvGraphicFramePr>
        <p:xfrm>
          <a:off x="1291" y="1589"/>
          <a:ext cx="129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306" name="think-cell Slide" r:id="rId4" imgW="479" imgH="481" progId="TCLayout.ActiveDocument.1">
                  <p:embed/>
                </p:oleObj>
              </mc:Choice>
              <mc:Fallback>
                <p:oleObj name="think-cell Slide" r:id="rId4" imgW="479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8BEFF77-3C5A-4FE8-B088-B07A7944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ECEFA1B9-DBCE-4785-876F-53A890CA5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2" y="941907"/>
            <a:ext cx="6911497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800" dirty="0">
                <a:solidFill>
                  <a:srgbClr val="BDC5CA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4" name="Дата 2">
            <a:extLst>
              <a:ext uri="{FF2B5EF4-FFF2-40B4-BE49-F238E27FC236}">
                <a16:creationId xmlns:a16="http://schemas.microsoft.com/office/drawing/2014/main" id="{89C22867-4CDC-4597-B0AD-CD161EA6AC8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25" name="Текст 10">
            <a:extLst>
              <a:ext uri="{FF2B5EF4-FFF2-40B4-BE49-F238E27FC236}">
                <a16:creationId xmlns:a16="http://schemas.microsoft.com/office/drawing/2014/main" id="{FEAEEB08-91E7-4E64-BF37-A996585EB2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08454" y="3428999"/>
            <a:ext cx="4527852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rgbClr val="BDC5CA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7B41AC-FD9B-4896-BA1A-725B9A1920D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40512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tile gradi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8BEFF77-3C5A-4FE8-B088-B07A7944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860565"/>
              </p:ext>
            </p:extLst>
          </p:nvPr>
        </p:nvGraphicFramePr>
        <p:xfrm>
          <a:off x="1291" y="1589"/>
          <a:ext cx="129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330" name="think-cell Slide" r:id="rId4" imgW="479" imgH="481" progId="TCLayout.ActiveDocument.1">
                  <p:embed/>
                </p:oleObj>
              </mc:Choice>
              <mc:Fallback>
                <p:oleObj name="think-cell Slide" r:id="rId4" imgW="479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8BEFF77-3C5A-4FE8-B088-B07A7944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>
            <a:extLst>
              <a:ext uri="{FF2B5EF4-FFF2-40B4-BE49-F238E27FC236}">
                <a16:creationId xmlns:a16="http://schemas.microsoft.com/office/drawing/2014/main" id="{AAFC4A4A-8A05-4B40-821B-B799148C9A20}"/>
              </a:ext>
            </a:extLst>
          </p:cNvPr>
          <p:cNvSpPr/>
          <p:nvPr/>
        </p:nvSpPr>
        <p:spPr>
          <a:xfrm>
            <a:off x="0" y="2"/>
            <a:ext cx="6407919" cy="6858000"/>
          </a:xfrm>
          <a:prstGeom prst="rect">
            <a:avLst/>
          </a:prstGeom>
          <a:gradFill>
            <a:gsLst>
              <a:gs pos="78000">
                <a:schemeClr val="accent1">
                  <a:alpha val="0"/>
                </a:schemeClr>
              </a:gs>
              <a:gs pos="10000">
                <a:schemeClr val="accent1"/>
              </a:gs>
            </a:gsLst>
            <a:lin ang="0" scaled="0"/>
          </a:gradFill>
        </p:spPr>
        <p:txBody>
          <a:bodyPr vert="horz" lIns="0" tIns="0" rIns="0" bIns="0" rtlCol="0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indent="0" defTabSz="741921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</a:pPr>
            <a:endParaRPr lang="en-GB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30CB491D-632C-432F-A4C5-0299590CC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2" y="941907"/>
            <a:ext cx="6911497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800" dirty="0">
                <a:solidFill>
                  <a:srgbClr val="BDC5CA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1" name="Дата 2">
            <a:extLst>
              <a:ext uri="{FF2B5EF4-FFF2-40B4-BE49-F238E27FC236}">
                <a16:creationId xmlns:a16="http://schemas.microsoft.com/office/drawing/2014/main" id="{EB17D009-5439-4674-AF3F-B268B4E6DEC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22" name="Текст 10">
            <a:extLst>
              <a:ext uri="{FF2B5EF4-FFF2-40B4-BE49-F238E27FC236}">
                <a16:creationId xmlns:a16="http://schemas.microsoft.com/office/drawing/2014/main" id="{5CD84FF3-06F4-4862-B940-BBEE51D600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8454" y="3428999"/>
            <a:ext cx="4527852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rgbClr val="BDC5CA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3CD68CE-3527-4D42-8D9C-A331F8F030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16424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8BEFF77-3C5A-4FE8-B088-B07A7944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406832"/>
              </p:ext>
            </p:extLst>
          </p:nvPr>
        </p:nvGraphicFramePr>
        <p:xfrm>
          <a:off x="1291" y="1589"/>
          <a:ext cx="129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354" name="think-cell Slide" r:id="rId4" imgW="479" imgH="481" progId="TCLayout.ActiveDocument.1">
                  <p:embed/>
                </p:oleObj>
              </mc:Choice>
              <mc:Fallback>
                <p:oleObj name="think-cell Slide" r:id="rId4" imgW="479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8BEFF77-3C5A-4FE8-B088-B07A7944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7C1A10DA-3E3E-4A0A-94EA-2183A1541C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53001" y="6914"/>
            <a:ext cx="4957095" cy="685108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82"/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EFCE0D-C319-4170-909B-369FA57F305B}"/>
              </a:ext>
            </a:extLst>
          </p:cNvPr>
          <p:cNvSpPr/>
          <p:nvPr/>
        </p:nvSpPr>
        <p:spPr>
          <a:xfrm>
            <a:off x="312761" y="1989544"/>
            <a:ext cx="5094264" cy="2878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lnSpc>
                <a:spcPct val="90000"/>
              </a:lnSpc>
            </a:pPr>
            <a:endParaRPr lang="ru-RU" sz="6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CF53EF-421D-41A6-B58E-106AB07AE0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505" y="1989544"/>
            <a:ext cx="4483494" cy="2878911"/>
          </a:xfrm>
          <a:prstGeom prst="rect">
            <a:avLst/>
          </a:prstGeom>
        </p:spPr>
        <p:txBody>
          <a:bodyPr vert="horz" wrap="square" lIns="0" tIns="0" rIns="0" bIns="0" anchor="ctr">
            <a:normAutofit/>
          </a:bodyPr>
          <a:lstStyle>
            <a:lvl1pPr algn="l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Дата 2">
            <a:extLst>
              <a:ext uri="{FF2B5EF4-FFF2-40B4-BE49-F238E27FC236}">
                <a16:creationId xmlns:a16="http://schemas.microsoft.com/office/drawing/2014/main" id="{89A7CE1E-3AB4-4BA6-9907-0481FCEF5C5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349346"/>
            <a:ext cx="2167364" cy="22859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>
              <a:defRPr lang="ru-RU" sz="1400" dirty="0">
                <a:solidFill>
                  <a:schemeClr val="tx1"/>
                </a:solidFill>
              </a:defRPr>
            </a:lvl1pPr>
          </a:lstStyle>
          <a:p>
            <a:endParaRPr lang="ru-RU"/>
          </a:p>
        </p:txBody>
      </p:sp>
      <p:pic>
        <p:nvPicPr>
          <p:cNvPr id="11" name="Рисунок 11">
            <a:extLst>
              <a:ext uri="{FF2B5EF4-FFF2-40B4-BE49-F238E27FC236}">
                <a16:creationId xmlns:a16="http://schemas.microsoft.com/office/drawing/2014/main" id="{1C6E9CB2-3D2D-40FB-AB6C-CBAB0CFC15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7975" y="5903100"/>
            <a:ext cx="2313006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603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59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picture 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8BEFF77-3C5A-4FE8-B088-B07A7944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659513"/>
              </p:ext>
            </p:extLst>
          </p:nvPr>
        </p:nvGraphicFramePr>
        <p:xfrm>
          <a:off x="1291" y="1589"/>
          <a:ext cx="129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378" name="think-cell Slide" r:id="rId4" imgW="479" imgH="481" progId="TCLayout.ActiveDocument.1">
                  <p:embed/>
                </p:oleObj>
              </mc:Choice>
              <mc:Fallback>
                <p:oleObj name="think-cell Slide" r:id="rId4" imgW="479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8BEFF77-3C5A-4FE8-B088-B07A7944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D7919C5C-41C9-42F6-BBE1-A73A1181436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53001" y="6914"/>
            <a:ext cx="4957095" cy="685108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482"/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FF79BE11-8555-4E70-A417-A73FAD61267E}"/>
              </a:ext>
            </a:extLst>
          </p:cNvPr>
          <p:cNvSpPr/>
          <p:nvPr/>
        </p:nvSpPr>
        <p:spPr>
          <a:xfrm>
            <a:off x="309820" y="1989544"/>
            <a:ext cx="5097207" cy="287891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tlCol="0" anchor="ctr"/>
          <a:lstStyle/>
          <a:p>
            <a:pPr>
              <a:lnSpc>
                <a:spcPct val="90000"/>
              </a:lnSpc>
            </a:pPr>
            <a:endParaRPr lang="ru-RU" sz="6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24F383F-6058-4693-90AA-29F4AB29B2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9505" y="1989544"/>
            <a:ext cx="4483494" cy="2878911"/>
          </a:xfrm>
          <a:prstGeom prst="rect">
            <a:avLst/>
          </a:prstGeom>
        </p:spPr>
        <p:txBody>
          <a:bodyPr vert="horz" wrap="square" lIns="0" tIns="0" rIns="0" bIns="0" anchor="ctr">
            <a:normAutofit/>
          </a:bodyPr>
          <a:lstStyle>
            <a:lvl1pPr algn="l">
              <a:defRPr sz="40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Дата 2">
            <a:extLst>
              <a:ext uri="{FF2B5EF4-FFF2-40B4-BE49-F238E27FC236}">
                <a16:creationId xmlns:a16="http://schemas.microsoft.com/office/drawing/2014/main" id="{E4BDE9BB-7FB9-4E79-8EE8-9BBFC17E08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349346"/>
            <a:ext cx="2167364" cy="22859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>
              <a:defRPr lang="ru-RU" sz="1400" dirty="0"/>
            </a:lvl1pPr>
          </a:lstStyle>
          <a:p>
            <a:endParaRPr lang="ru-RU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C4A4D3-046B-436E-BF51-88BDB3C89B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6926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2C750ED-5455-4E86-89A2-82433F9797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2265685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2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2C750ED-5455-4E86-89A2-82433F979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8">
            <a:extLst>
              <a:ext uri="{FF2B5EF4-FFF2-40B4-BE49-F238E27FC236}">
                <a16:creationId xmlns:a16="http://schemas.microsoft.com/office/drawing/2014/main" id="{3CBCAED9-71C8-9AED-1725-79C9D0547B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64125" y="577941"/>
            <a:ext cx="4532058" cy="4515408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 marL="0" indent="0" algn="r">
              <a:buFontTx/>
              <a:buNone/>
              <a:defRPr sz="35000" b="0" i="0" spc="0">
                <a:solidFill>
                  <a:srgbClr val="BDC5CA"/>
                </a:solidFill>
                <a:latin typeface="Times New Roman" panose="02020603050405020304" pitchFamily="18" charset="0"/>
                <a:cs typeface="Arial Black" panose="020B0604020202020204" pitchFamily="34" charset="0"/>
              </a:defRPr>
            </a:lvl1pPr>
            <a:lvl2pPr marL="483849" indent="0">
              <a:buFontTx/>
              <a:buNone/>
              <a:defRPr>
                <a:solidFill>
                  <a:schemeClr val="bg1"/>
                </a:solidFill>
              </a:defRPr>
            </a:lvl2pPr>
            <a:lvl3pPr marL="967698" indent="0">
              <a:buFontTx/>
              <a:buNone/>
              <a:defRPr>
                <a:solidFill>
                  <a:schemeClr val="bg1"/>
                </a:solidFill>
              </a:defRPr>
            </a:lvl3pPr>
            <a:lvl4pPr marL="1451546" indent="0">
              <a:buFontTx/>
              <a:buNone/>
              <a:defRPr>
                <a:solidFill>
                  <a:schemeClr val="bg1"/>
                </a:solidFill>
              </a:defRPr>
            </a:lvl4pPr>
            <a:lvl5pPr marL="193539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  <a:endParaRPr lang="ru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EE2FB5C-413F-623B-9028-CD0389A144F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034" y="32804"/>
            <a:ext cx="6276130" cy="6874168"/>
          </a:xfrm>
          <a:prstGeom prst="rect">
            <a:avLst/>
          </a:prstGeom>
        </p:spPr>
      </p:pic>
      <p:pic>
        <p:nvPicPr>
          <p:cNvPr id="17" name="Picture 16" hidden="1">
            <a:extLst>
              <a:ext uri="{FF2B5EF4-FFF2-40B4-BE49-F238E27FC236}">
                <a16:creationId xmlns:a16="http://schemas.microsoft.com/office/drawing/2014/main" id="{171A8595-6829-3515-7222-6C6890225AD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167" y="5281498"/>
            <a:ext cx="3096820" cy="1008631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ED5E3E-42CE-3EB3-EF22-749E1FBF56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9" y="577941"/>
            <a:ext cx="2946144" cy="2087245"/>
          </a:xfrm>
          <a:prstGeom prst="rect">
            <a:avLst/>
          </a:prstGeom>
        </p:spPr>
        <p:txBody>
          <a:bodyPr vert="horz" wrap="square" anchor="t"/>
          <a:lstStyle>
            <a:lvl1pPr marL="0" marR="0" indent="0" algn="l" defTabSz="96769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pc="0">
                <a:solidFill>
                  <a:srgbClr val="BDC5C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8" name="Текст 10">
            <a:extLst>
              <a:ext uri="{FF2B5EF4-FFF2-40B4-BE49-F238E27FC236}">
                <a16:creationId xmlns:a16="http://schemas.microsoft.com/office/drawing/2014/main" id="{1306DCA4-414E-47EA-8ACF-83DF7EBE0C9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>
              <a:buNone/>
              <a:defRPr lang="ru-RU" sz="900" dirty="0">
                <a:solidFill>
                  <a:srgbClr val="BDC5CA"/>
                </a:solidFill>
                <a:latin typeface="+mn-lt"/>
                <a:ea typeface="Beeline Sans V0.3 Regular" pitchFamily="2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ru-RU" dirty="0"/>
              <a:t>Технологии Доверия</a:t>
            </a:r>
          </a:p>
        </p:txBody>
      </p:sp>
      <p:sp>
        <p:nvSpPr>
          <p:cNvPr id="13" name="Date Placeholder 44">
            <a:extLst>
              <a:ext uri="{FF2B5EF4-FFF2-40B4-BE49-F238E27FC236}">
                <a16:creationId xmlns:a16="http://schemas.microsoft.com/office/drawing/2014/main" id="{BF87ADFE-BB77-400C-89A6-5A35B1D08E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16" name="Slide Number Placeholder 45">
            <a:extLst>
              <a:ext uri="{FF2B5EF4-FFF2-40B4-BE49-F238E27FC236}">
                <a16:creationId xmlns:a16="http://schemas.microsoft.com/office/drawing/2014/main" id="{1309C155-5B30-47E0-8FD2-DFFB524D78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1" name="Нижний колонтитул 1">
            <a:extLst>
              <a:ext uri="{FF2B5EF4-FFF2-40B4-BE49-F238E27FC236}">
                <a16:creationId xmlns:a16="http://schemas.microsoft.com/office/drawing/2014/main" id="{AC028656-5235-47AD-AF42-8B1C624541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/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/>
              <a:t>Конфиденциально</a:t>
            </a:r>
          </a:p>
        </p:txBody>
      </p:sp>
      <p:sp>
        <p:nvSpPr>
          <p:cNvPr id="20" name="Текст 24">
            <a:extLst>
              <a:ext uri="{FF2B5EF4-FFF2-40B4-BE49-F238E27FC236}">
                <a16:creationId xmlns:a16="http://schemas.microsoft.com/office/drawing/2014/main" id="{0A94423D-C581-4167-87A8-5B843A756391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77384" y="275194"/>
            <a:ext cx="4518799" cy="11429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Bef>
                <a:spcPts val="0"/>
              </a:spcBef>
              <a:buNone/>
              <a:defRPr lang="ru-RU" sz="952" b="0" i="0" kern="1200" cap="all" baseline="0" dirty="0" smtClean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093060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A977FC7-CDCD-4EFC-B0AD-346FBC5DF7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9303713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26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A977FC7-CDCD-4EFC-B0AD-346FBC5DF7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>
            <a:extLst>
              <a:ext uri="{FF2B5EF4-FFF2-40B4-BE49-F238E27FC236}">
                <a16:creationId xmlns:a16="http://schemas.microsoft.com/office/drawing/2014/main" id="{CEC14BF7-C81C-4A3E-8E59-F791346A2F4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034" y="32804"/>
            <a:ext cx="6276130" cy="6874168"/>
          </a:xfrm>
          <a:prstGeom prst="rect">
            <a:avLst/>
          </a:prstGeom>
        </p:spPr>
      </p:pic>
      <p:pic>
        <p:nvPicPr>
          <p:cNvPr id="17" name="Picture 16" hidden="1">
            <a:extLst>
              <a:ext uri="{FF2B5EF4-FFF2-40B4-BE49-F238E27FC236}">
                <a16:creationId xmlns:a16="http://schemas.microsoft.com/office/drawing/2014/main" id="{171A8595-6829-3515-7222-6C6890225AD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167" y="5281498"/>
            <a:ext cx="3096820" cy="1008631"/>
          </a:xfrm>
          <a:prstGeom prst="rect">
            <a:avLst/>
          </a:prstGeom>
        </p:spPr>
      </p:pic>
      <p:sp>
        <p:nvSpPr>
          <p:cNvPr id="13" name="Рисунок 4">
            <a:extLst>
              <a:ext uri="{FF2B5EF4-FFF2-40B4-BE49-F238E27FC236}">
                <a16:creationId xmlns:a16="http://schemas.microsoft.com/office/drawing/2014/main" id="{A77E62E0-9BF0-6AF2-AA7B-4F70882D11B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973694" y="1"/>
            <a:ext cx="6621907" cy="4804007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608E53D-FFC2-0FA2-62AD-0A88F089CF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21" y="583316"/>
            <a:ext cx="2376230" cy="1752553"/>
          </a:xfrm>
          <a:prstGeom prst="rect">
            <a:avLst/>
          </a:prstGeom>
        </p:spPr>
        <p:txBody>
          <a:bodyPr vert="horz" wrap="square" rIns="180000" anchor="t"/>
          <a:lstStyle>
            <a:lvl1pPr marL="0" marR="0" indent="0" algn="l" defTabSz="96769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pc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4" name="Текст 8">
            <a:extLst>
              <a:ext uri="{FF2B5EF4-FFF2-40B4-BE49-F238E27FC236}">
                <a16:creationId xmlns:a16="http://schemas.microsoft.com/office/drawing/2014/main" id="{B5859FC9-D4A0-475E-90A8-DDCC45A57D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728" y="4277884"/>
            <a:ext cx="2581752" cy="1928107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15000" b="0" i="0">
                <a:solidFill>
                  <a:schemeClr val="bg2"/>
                </a:solidFill>
                <a:latin typeface="Times New Roman" panose="02020603050405020304" pitchFamily="18" charset="0"/>
                <a:cs typeface="Arial Black" panose="020B0604020202020204" pitchFamily="34" charset="0"/>
              </a:defRPr>
            </a:lvl1pPr>
            <a:lvl2pPr marL="483849" indent="0">
              <a:buFontTx/>
              <a:buNone/>
              <a:defRPr>
                <a:solidFill>
                  <a:schemeClr val="bg1"/>
                </a:solidFill>
              </a:defRPr>
            </a:lvl2pPr>
            <a:lvl3pPr marL="967698" indent="0">
              <a:buFontTx/>
              <a:buNone/>
              <a:defRPr>
                <a:solidFill>
                  <a:schemeClr val="bg1"/>
                </a:solidFill>
              </a:defRPr>
            </a:lvl3pPr>
            <a:lvl4pPr marL="1451546" indent="0">
              <a:buFontTx/>
              <a:buNone/>
              <a:defRPr>
                <a:solidFill>
                  <a:schemeClr val="bg1"/>
                </a:solidFill>
              </a:defRPr>
            </a:lvl4pPr>
            <a:lvl5pPr marL="193539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0414D34D-48A6-4DFA-88B3-20DB79F9EE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>
              <a:buNone/>
              <a:defRPr lang="ru-RU" sz="900" dirty="0">
                <a:solidFill>
                  <a:srgbClr val="BDC5CA"/>
                </a:solidFill>
                <a:latin typeface="+mn-lt"/>
                <a:ea typeface="Beeline Sans V0.3 Regular" pitchFamily="2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ru-RU" dirty="0"/>
              <a:t>Технологии Доверия</a:t>
            </a:r>
          </a:p>
        </p:txBody>
      </p:sp>
      <p:sp>
        <p:nvSpPr>
          <p:cNvPr id="18" name="Date Placeholder 44">
            <a:extLst>
              <a:ext uri="{FF2B5EF4-FFF2-40B4-BE49-F238E27FC236}">
                <a16:creationId xmlns:a16="http://schemas.microsoft.com/office/drawing/2014/main" id="{D2FBB148-346A-49BC-9A42-0C504A2D3A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21" name="Slide Number Placeholder 45">
            <a:extLst>
              <a:ext uri="{FF2B5EF4-FFF2-40B4-BE49-F238E27FC236}">
                <a16:creationId xmlns:a16="http://schemas.microsoft.com/office/drawing/2014/main" id="{9FAA56DD-9A2C-4AFA-BFAC-8B0830C739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/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Нижний колонтитул 1">
            <a:extLst>
              <a:ext uri="{FF2B5EF4-FFF2-40B4-BE49-F238E27FC236}">
                <a16:creationId xmlns:a16="http://schemas.microsoft.com/office/drawing/2014/main" id="{9D927179-B179-4718-9D6E-F75327EBAE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/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/>
              <a:t>Конфиденциально</a:t>
            </a:r>
          </a:p>
        </p:txBody>
      </p:sp>
    </p:spTree>
    <p:extLst>
      <p:ext uri="{BB962C8B-B14F-4D97-AF65-F5344CB8AC3E}">
        <p14:creationId xmlns:p14="http://schemas.microsoft.com/office/powerpoint/2010/main" val="359190153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1C947D-45C5-4036-8639-BA7720C723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532745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50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1C947D-45C5-4036-8639-BA7720C723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E440C82C-DF7E-4642-99C6-5F7CE0D387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9818" y="1577975"/>
            <a:ext cx="4643182" cy="3779727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36000" b="0" i="0">
                <a:solidFill>
                  <a:schemeClr val="bg2"/>
                </a:solidFill>
                <a:latin typeface="Times New Roman" panose="02020603050405020304" pitchFamily="18" charset="0"/>
                <a:cs typeface="Arial Black" panose="020B0604020202020204" pitchFamily="34" charset="0"/>
              </a:defRPr>
            </a:lvl1pPr>
            <a:lvl2pPr marL="483849" indent="0">
              <a:buFontTx/>
              <a:buNone/>
              <a:defRPr>
                <a:solidFill>
                  <a:schemeClr val="bg1"/>
                </a:solidFill>
              </a:defRPr>
            </a:lvl2pPr>
            <a:lvl3pPr marL="967698" indent="0">
              <a:buFontTx/>
              <a:buNone/>
              <a:defRPr>
                <a:solidFill>
                  <a:schemeClr val="bg1"/>
                </a:solidFill>
              </a:defRPr>
            </a:lvl3pPr>
            <a:lvl4pPr marL="1451546" indent="0">
              <a:buFontTx/>
              <a:buNone/>
              <a:defRPr>
                <a:solidFill>
                  <a:schemeClr val="bg1"/>
                </a:solidFill>
              </a:defRPr>
            </a:lvl4pPr>
            <a:lvl5pPr marL="1935395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01</a:t>
            </a:r>
            <a:endParaRPr lang="ru-RU" dirty="0"/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08386D5A-220E-49F3-9C3C-7DCE16654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20" y="584645"/>
            <a:ext cx="9286363" cy="840718"/>
          </a:xfrm>
        </p:spPr>
        <p:txBody>
          <a:bodyPr vert="horz"/>
          <a:lstStyle>
            <a:lvl1pPr>
              <a:defRPr sz="3387" spc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2D476EB5-E063-524D-B9DD-AB430CE47C6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77201" y="1577975"/>
            <a:ext cx="4518982" cy="477600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tabLst>
                <a:tab pos="364567" algn="l"/>
              </a:tabLst>
              <a:defRPr sz="160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sz="1587">
                <a:solidFill>
                  <a:schemeClr val="bg1"/>
                </a:solidFill>
                <a:latin typeface="Beeline Sans V0.3 Regular" pitchFamily="2" charset="0"/>
              </a:defRPr>
            </a:lvl2pPr>
            <a:lvl3pPr marL="967698" indent="0">
              <a:buNone/>
              <a:defRPr sz="1587">
                <a:solidFill>
                  <a:schemeClr val="bg1"/>
                </a:solidFill>
                <a:latin typeface="Beeline Sans V0.3 Regular" pitchFamily="2" charset="0"/>
              </a:defRPr>
            </a:lvl3pPr>
            <a:lvl4pPr marL="1451546" indent="0">
              <a:buNone/>
              <a:defRPr sz="1587">
                <a:solidFill>
                  <a:schemeClr val="bg1"/>
                </a:solidFill>
                <a:latin typeface="Beeline Sans V0.3 Regular" pitchFamily="2" charset="0"/>
              </a:defRPr>
            </a:lvl4pPr>
            <a:lvl5pPr marL="1935395" indent="0">
              <a:buNone/>
              <a:defRPr sz="1587">
                <a:solidFill>
                  <a:schemeClr val="bg1"/>
                </a:solidFill>
                <a:latin typeface="Beeline Sans V0.3 Regular" pitchFamily="2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Текст 10">
            <a:extLst>
              <a:ext uri="{FF2B5EF4-FFF2-40B4-BE49-F238E27FC236}">
                <a16:creationId xmlns:a16="http://schemas.microsoft.com/office/drawing/2014/main" id="{360AA0B2-DB1B-47A3-893E-16837FF6933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indent="0">
              <a:buNone/>
              <a:defRPr lang="ru-RU" sz="900" dirty="0">
                <a:solidFill>
                  <a:srgbClr val="BDC5CA"/>
                </a:solidFill>
                <a:latin typeface="+mn-lt"/>
                <a:ea typeface="Beeline Sans V0.3 Regular" pitchFamily="2" charset="0"/>
                <a:cs typeface="Arial" panose="020B0604020202020204" pitchFamily="34" charset="0"/>
              </a:defRPr>
            </a:lvl1pPr>
          </a:lstStyle>
          <a:p>
            <a:pPr marL="0" lvl="0"/>
            <a:r>
              <a:rPr lang="ru-RU" dirty="0"/>
              <a:t>Технологии Доверия</a:t>
            </a:r>
          </a:p>
        </p:txBody>
      </p:sp>
      <p:sp>
        <p:nvSpPr>
          <p:cNvPr id="17" name="Date Placeholder 44">
            <a:extLst>
              <a:ext uri="{FF2B5EF4-FFF2-40B4-BE49-F238E27FC236}">
                <a16:creationId xmlns:a16="http://schemas.microsoft.com/office/drawing/2014/main" id="{ADFE25AD-84A8-4896-B0DF-FDCFC48F466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18" name="Slide Number Placeholder 45">
            <a:extLst>
              <a:ext uri="{FF2B5EF4-FFF2-40B4-BE49-F238E27FC236}">
                <a16:creationId xmlns:a16="http://schemas.microsoft.com/office/drawing/2014/main" id="{511B09B2-19F7-44CE-9693-D37169866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/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9" name="Нижний колонтитул 1">
            <a:extLst>
              <a:ext uri="{FF2B5EF4-FFF2-40B4-BE49-F238E27FC236}">
                <a16:creationId xmlns:a16="http://schemas.microsoft.com/office/drawing/2014/main" id="{09BBE88D-C4B9-41A9-A589-F6658D4A58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/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/>
              <a:t>Конфиденциально</a:t>
            </a:r>
          </a:p>
        </p:txBody>
      </p:sp>
      <p:sp>
        <p:nvSpPr>
          <p:cNvPr id="20" name="Текст 24">
            <a:extLst>
              <a:ext uri="{FF2B5EF4-FFF2-40B4-BE49-F238E27FC236}">
                <a16:creationId xmlns:a16="http://schemas.microsoft.com/office/drawing/2014/main" id="{64DA04A8-1A76-41AC-8C32-E242BEF08C5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77384" y="275194"/>
            <a:ext cx="4518799" cy="11429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Bef>
                <a:spcPts val="0"/>
              </a:spcBef>
              <a:buNone/>
              <a:defRPr lang="ru-RU" sz="952" b="0" i="0" kern="1200" cap="all" baseline="0" dirty="0" smtClean="0">
                <a:solidFill>
                  <a:schemeClr val="bg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1501704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FD66261-6739-4250-8778-461272160D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263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FD66261-6739-4250-8778-461272160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619850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Title Sub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39666D-68C7-422A-9B9A-CAD7324D6E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4116337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00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39666D-68C7-422A-9B9A-CAD7324D6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Текст 24">
            <a:extLst>
              <a:ext uri="{FF2B5EF4-FFF2-40B4-BE49-F238E27FC236}">
                <a16:creationId xmlns:a16="http://schemas.microsoft.com/office/drawing/2014/main" id="{5E84DFE0-C810-F5DC-5236-27B09171A3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09819" y="2392769"/>
            <a:ext cx="9285203" cy="3961993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F41FA8A1-0FF2-479A-A8A0-4E5F1855F7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8" y="565981"/>
            <a:ext cx="9286364" cy="838177"/>
          </a:xfrm>
          <a:prstGeom prst="rect">
            <a:avLst/>
          </a:prstGeom>
        </p:spPr>
        <p:txBody>
          <a:bodyPr vert="horz"/>
          <a:lstStyle>
            <a:lvl1pPr>
              <a:defRPr sz="2400" spc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4" name="Текст 24">
            <a:extLst>
              <a:ext uri="{FF2B5EF4-FFF2-40B4-BE49-F238E27FC236}">
                <a16:creationId xmlns:a16="http://schemas.microsoft.com/office/drawing/2014/main" id="{6F17F5F8-E48D-4098-90AD-D573C460F1A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Текст 24">
            <a:extLst>
              <a:ext uri="{FF2B5EF4-FFF2-40B4-BE49-F238E27FC236}">
                <a16:creationId xmlns:a16="http://schemas.microsoft.com/office/drawing/2014/main" id="{09B25449-0458-4C43-9891-482F8824D4D2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Date Placeholder 44">
            <a:extLst>
              <a:ext uri="{FF2B5EF4-FFF2-40B4-BE49-F238E27FC236}">
                <a16:creationId xmlns:a16="http://schemas.microsoft.com/office/drawing/2014/main" id="{E2B831C4-AF77-4FF7-9B33-8EBC0FBC3EE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>
                    <a:lumMod val="75000"/>
                  </a:schemeClr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17" name="Slide Number Placeholder 45">
            <a:extLst>
              <a:ext uri="{FF2B5EF4-FFF2-40B4-BE49-F238E27FC236}">
                <a16:creationId xmlns:a16="http://schemas.microsoft.com/office/drawing/2014/main" id="{FBDEB8BB-9588-4E2C-BCFD-0DF7DB2173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8" name="Нижний колонтитул 1">
            <a:extLst>
              <a:ext uri="{FF2B5EF4-FFF2-40B4-BE49-F238E27FC236}">
                <a16:creationId xmlns:a16="http://schemas.microsoft.com/office/drawing/2014/main" id="{205062DF-1470-4C3D-9324-4439423FE9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 dirty="0"/>
              <a:t>Конфиденциально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F1A352B-731B-4AA5-BB76-2212641FA40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09563" y="1576388"/>
            <a:ext cx="9286875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0767232F-9F62-4D49-9A72-A8411CAEFE0B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D391C3-23A8-4424-85B9-E431F113C082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501847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8F62223-16EF-4D9A-B3B6-8E5B9D4B24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208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8F62223-16EF-4D9A-B3B6-8E5B9D4B24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phic 9">
            <a:extLst>
              <a:ext uri="{FF2B5EF4-FFF2-40B4-BE49-F238E27FC236}">
                <a16:creationId xmlns:a16="http://schemas.microsoft.com/office/drawing/2014/main" id="{D37C30D5-D6CB-438A-91EA-28F7EBD03B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" y="3361"/>
            <a:ext cx="9906000" cy="6854639"/>
          </a:xfrm>
          <a:prstGeom prst="rect">
            <a:avLst/>
          </a:prstGeom>
        </p:spPr>
      </p:pic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F8240D3E-6CCD-4EDA-BDCD-81165D1C81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2" y="941907"/>
            <a:ext cx="6911497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800" dirty="0">
                <a:solidFill>
                  <a:srgbClr val="BDC5CA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7" name="Дата 2">
            <a:extLst>
              <a:ext uri="{FF2B5EF4-FFF2-40B4-BE49-F238E27FC236}">
                <a16:creationId xmlns:a16="http://schemas.microsoft.com/office/drawing/2014/main" id="{6BBB1D0E-18AB-4E79-AB16-03C606940C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28" name="Текст 10">
            <a:extLst>
              <a:ext uri="{FF2B5EF4-FFF2-40B4-BE49-F238E27FC236}">
                <a16:creationId xmlns:a16="http://schemas.microsoft.com/office/drawing/2014/main" id="{4C5CFFCE-771C-4873-BA9E-B7B6B54089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8454" y="3428999"/>
            <a:ext cx="4527852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rgbClr val="BDC5CA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EB62E80-2AC0-4A35-AF80-84DB2ADF6AA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272327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39666D-68C7-422A-9B9A-CAD7324D6E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49334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23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39666D-68C7-422A-9B9A-CAD7324D6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e Placeholder 44">
            <a:extLst>
              <a:ext uri="{FF2B5EF4-FFF2-40B4-BE49-F238E27FC236}">
                <a16:creationId xmlns:a16="http://schemas.microsoft.com/office/drawing/2014/main" id="{55CBFDFB-8D6F-4781-945C-C166D0AF34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>
                    <a:lumMod val="75000"/>
                  </a:schemeClr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15" name="Slide Number Placeholder 45">
            <a:extLst>
              <a:ext uri="{FF2B5EF4-FFF2-40B4-BE49-F238E27FC236}">
                <a16:creationId xmlns:a16="http://schemas.microsoft.com/office/drawing/2014/main" id="{CA3C18B0-D3A2-45C5-92BA-9088AFBA63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Нижний колонтитул 1">
            <a:extLst>
              <a:ext uri="{FF2B5EF4-FFF2-40B4-BE49-F238E27FC236}">
                <a16:creationId xmlns:a16="http://schemas.microsoft.com/office/drawing/2014/main" id="{E0CFE1C4-3295-485B-AF1B-6E28B84B9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/>
              <a:t>Конфиденциально</a:t>
            </a:r>
          </a:p>
        </p:txBody>
      </p:sp>
      <p:sp>
        <p:nvSpPr>
          <p:cNvPr id="17" name="Текст 24">
            <a:extLst>
              <a:ext uri="{FF2B5EF4-FFF2-40B4-BE49-F238E27FC236}">
                <a16:creationId xmlns:a16="http://schemas.microsoft.com/office/drawing/2014/main" id="{A5D0A979-7D8B-4657-BE16-52299DB4DE2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09819" y="1579861"/>
            <a:ext cx="9285203" cy="4774902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B3171DF0-DA0E-4837-BD4E-E4FB3DC56F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8" y="565981"/>
            <a:ext cx="9286364" cy="838177"/>
          </a:xfrm>
          <a:prstGeom prst="rect">
            <a:avLst/>
          </a:prstGeom>
        </p:spPr>
        <p:txBody>
          <a:bodyPr vert="horz"/>
          <a:lstStyle>
            <a:lvl1pPr>
              <a:defRPr sz="2400" spc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Текст 24">
            <a:extLst>
              <a:ext uri="{FF2B5EF4-FFF2-40B4-BE49-F238E27FC236}">
                <a16:creationId xmlns:a16="http://schemas.microsoft.com/office/drawing/2014/main" id="{1D1EBDF7-6D4E-4F7C-8AAB-B0B292523B3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Текст 24">
            <a:extLst>
              <a:ext uri="{FF2B5EF4-FFF2-40B4-BE49-F238E27FC236}">
                <a16:creationId xmlns:a16="http://schemas.microsoft.com/office/drawing/2014/main" id="{7146577A-E0A4-4E87-9F4A-EC2BF1F0415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4BDADB85-B31B-474A-A2BF-8F93331FE1E2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415DE90-49DA-4BAF-A8BE-9833EAF6B70F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75378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two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39666D-68C7-422A-9B9A-CAD7324D6E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8496082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47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39666D-68C7-422A-9B9A-CAD7324D6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24">
            <a:extLst>
              <a:ext uri="{FF2B5EF4-FFF2-40B4-BE49-F238E27FC236}">
                <a16:creationId xmlns:a16="http://schemas.microsoft.com/office/drawing/2014/main" id="{29D54F8C-8115-4E8C-B5EB-AD702773EEC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09819" y="2392769"/>
            <a:ext cx="4530699" cy="3961993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3173F885-110C-4DF7-9E13-6173ACA743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8" y="565981"/>
            <a:ext cx="9285118" cy="838177"/>
          </a:xfrm>
          <a:prstGeom prst="rect">
            <a:avLst/>
          </a:prstGeom>
        </p:spPr>
        <p:txBody>
          <a:bodyPr vert="horz"/>
          <a:lstStyle>
            <a:lvl1pPr>
              <a:defRPr sz="2400" spc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4" name="Текст 24">
            <a:extLst>
              <a:ext uri="{FF2B5EF4-FFF2-40B4-BE49-F238E27FC236}">
                <a16:creationId xmlns:a16="http://schemas.microsoft.com/office/drawing/2014/main" id="{FA51DC25-FB9E-41F1-8EB3-0C5C381D8F1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Текст 24">
            <a:extLst>
              <a:ext uri="{FF2B5EF4-FFF2-40B4-BE49-F238E27FC236}">
                <a16:creationId xmlns:a16="http://schemas.microsoft.com/office/drawing/2014/main" id="{888C3E30-B59F-450B-9E5D-7C50BE1EE1D7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Date Placeholder 44">
            <a:extLst>
              <a:ext uri="{FF2B5EF4-FFF2-40B4-BE49-F238E27FC236}">
                <a16:creationId xmlns:a16="http://schemas.microsoft.com/office/drawing/2014/main" id="{1EEB5DF5-BB5C-4134-A4D7-6E448ED89E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>
                    <a:lumMod val="75000"/>
                  </a:schemeClr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27" name="Slide Number Placeholder 45">
            <a:extLst>
              <a:ext uri="{FF2B5EF4-FFF2-40B4-BE49-F238E27FC236}">
                <a16:creationId xmlns:a16="http://schemas.microsoft.com/office/drawing/2014/main" id="{D711567F-2A1C-42E8-AC2F-05C1EE69C0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8" name="Нижний колонтитул 1">
            <a:extLst>
              <a:ext uri="{FF2B5EF4-FFF2-40B4-BE49-F238E27FC236}">
                <a16:creationId xmlns:a16="http://schemas.microsoft.com/office/drawing/2014/main" id="{720108C4-473C-466E-B781-812C1B47C2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 dirty="0"/>
              <a:t>Конфиденциально</a:t>
            </a:r>
          </a:p>
        </p:txBody>
      </p:sp>
      <p:sp>
        <p:nvSpPr>
          <p:cNvPr id="30" name="Текст 24">
            <a:extLst>
              <a:ext uri="{FF2B5EF4-FFF2-40B4-BE49-F238E27FC236}">
                <a16:creationId xmlns:a16="http://schemas.microsoft.com/office/drawing/2014/main" id="{531A041F-305E-444A-BD3E-6EC594B2A44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64336" y="2392770"/>
            <a:ext cx="4530699" cy="3961992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0F386859-DA2C-4ED5-8AF3-5A406FAD2EF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09564" y="1576388"/>
            <a:ext cx="4532312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516CDE3-020E-400B-9BC1-2A8D921F03DE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065989" y="1576388"/>
            <a:ext cx="4532312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D6ABD6C8-4DED-4B8C-8C46-80B0D2432C89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E25FDB6-0689-45BF-B16A-CCE7EED13718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164025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two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39666D-68C7-422A-9B9A-CAD7324D6E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9446875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571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39666D-68C7-422A-9B9A-CAD7324D6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24">
            <a:extLst>
              <a:ext uri="{FF2B5EF4-FFF2-40B4-BE49-F238E27FC236}">
                <a16:creationId xmlns:a16="http://schemas.microsoft.com/office/drawing/2014/main" id="{B789A11A-16F8-4C56-9D8E-1BB1FB734DA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09819" y="1579861"/>
            <a:ext cx="4530699" cy="4774902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FD8C7EBE-F30B-4703-AA2B-95367B2CD6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8" y="565981"/>
            <a:ext cx="9285118" cy="838177"/>
          </a:xfrm>
          <a:prstGeom prst="rect">
            <a:avLst/>
          </a:prstGeom>
        </p:spPr>
        <p:txBody>
          <a:bodyPr vert="horz"/>
          <a:lstStyle>
            <a:lvl1pPr>
              <a:defRPr sz="2400" spc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6" name="Текст 24">
            <a:extLst>
              <a:ext uri="{FF2B5EF4-FFF2-40B4-BE49-F238E27FC236}">
                <a16:creationId xmlns:a16="http://schemas.microsoft.com/office/drawing/2014/main" id="{7420A839-32E6-4755-A371-5FEC3F74A54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Текст 24">
            <a:extLst>
              <a:ext uri="{FF2B5EF4-FFF2-40B4-BE49-F238E27FC236}">
                <a16:creationId xmlns:a16="http://schemas.microsoft.com/office/drawing/2014/main" id="{E1A2BA7F-AFBE-4B9C-B80A-27DCB262158B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Date Placeholder 44">
            <a:extLst>
              <a:ext uri="{FF2B5EF4-FFF2-40B4-BE49-F238E27FC236}">
                <a16:creationId xmlns:a16="http://schemas.microsoft.com/office/drawing/2014/main" id="{47152165-1172-4FD1-8E68-FFC83C3C8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>
                    <a:lumMod val="75000"/>
                  </a:schemeClr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21" name="Slide Number Placeholder 45">
            <a:extLst>
              <a:ext uri="{FF2B5EF4-FFF2-40B4-BE49-F238E27FC236}">
                <a16:creationId xmlns:a16="http://schemas.microsoft.com/office/drawing/2014/main" id="{CB36E30D-046C-435D-8661-03DC6946C4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Нижний колонтитул 1">
            <a:extLst>
              <a:ext uri="{FF2B5EF4-FFF2-40B4-BE49-F238E27FC236}">
                <a16:creationId xmlns:a16="http://schemas.microsoft.com/office/drawing/2014/main" id="{A7E54168-2662-4197-BBF3-0F2DAFA7A0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 dirty="0"/>
              <a:t>Конфиденциально</a:t>
            </a:r>
          </a:p>
        </p:txBody>
      </p:sp>
      <p:sp>
        <p:nvSpPr>
          <p:cNvPr id="24" name="Текст 24">
            <a:extLst>
              <a:ext uri="{FF2B5EF4-FFF2-40B4-BE49-F238E27FC236}">
                <a16:creationId xmlns:a16="http://schemas.microsoft.com/office/drawing/2014/main" id="{F375E59C-5442-4823-BEA3-D7BE9345B69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64336" y="1579861"/>
            <a:ext cx="4530699" cy="4774902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1" name="Текст 10">
            <a:extLst>
              <a:ext uri="{FF2B5EF4-FFF2-40B4-BE49-F238E27FC236}">
                <a16:creationId xmlns:a16="http://schemas.microsoft.com/office/drawing/2014/main" id="{BDCBEA3D-E4CA-4F46-82FC-B6441EC3D562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83C69E9-C13A-4CDF-B087-C9D4B5C233AD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428420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two content char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39666D-68C7-422A-9B9A-CAD7324D6E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4257546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595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39666D-68C7-422A-9B9A-CAD7324D6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Текст 24">
            <a:extLst>
              <a:ext uri="{FF2B5EF4-FFF2-40B4-BE49-F238E27FC236}">
                <a16:creationId xmlns:a16="http://schemas.microsoft.com/office/drawing/2014/main" id="{5E84DFE0-C810-F5DC-5236-27B09171A3F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09818" y="2385445"/>
            <a:ext cx="4531179" cy="3969318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C68D2B7-71EF-444F-8FD3-5D46A5AD89B0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5063757" y="1575896"/>
            <a:ext cx="4531179" cy="4778867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D9BC4AAB-3939-4BDC-BFF6-72D69D5DA2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8" y="565981"/>
            <a:ext cx="9285118" cy="838177"/>
          </a:xfrm>
          <a:prstGeom prst="rect">
            <a:avLst/>
          </a:prstGeom>
        </p:spPr>
        <p:txBody>
          <a:bodyPr vert="horz"/>
          <a:lstStyle>
            <a:lvl1pPr>
              <a:defRPr sz="2400" spc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6" name="Текст 24">
            <a:extLst>
              <a:ext uri="{FF2B5EF4-FFF2-40B4-BE49-F238E27FC236}">
                <a16:creationId xmlns:a16="http://schemas.microsoft.com/office/drawing/2014/main" id="{FA449C50-66FA-4F18-8C1C-B85E969424A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Текст 24">
            <a:extLst>
              <a:ext uri="{FF2B5EF4-FFF2-40B4-BE49-F238E27FC236}">
                <a16:creationId xmlns:a16="http://schemas.microsoft.com/office/drawing/2014/main" id="{F14EEA38-C133-4AA1-8ED9-FDE7A0CD0775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Date Placeholder 44">
            <a:extLst>
              <a:ext uri="{FF2B5EF4-FFF2-40B4-BE49-F238E27FC236}">
                <a16:creationId xmlns:a16="http://schemas.microsoft.com/office/drawing/2014/main" id="{2EF4EB52-A6F0-44D9-B52E-1C803BECBD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>
                    <a:lumMod val="75000"/>
                  </a:schemeClr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20" name="Slide Number Placeholder 45">
            <a:extLst>
              <a:ext uri="{FF2B5EF4-FFF2-40B4-BE49-F238E27FC236}">
                <a16:creationId xmlns:a16="http://schemas.microsoft.com/office/drawing/2014/main" id="{BBB1E7C9-00F3-4AB8-9AC7-43D68F1868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Нижний колонтитул 1">
            <a:extLst>
              <a:ext uri="{FF2B5EF4-FFF2-40B4-BE49-F238E27FC236}">
                <a16:creationId xmlns:a16="http://schemas.microsoft.com/office/drawing/2014/main" id="{BBF6BB45-7BC0-40CC-A670-8912D85DB9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/>
              <a:t>Конфиденциально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FCF60E3D-CA34-42F3-9765-95B7CF6976C4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09564" y="1576388"/>
            <a:ext cx="4532312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547C90DE-64EC-4D7C-8ABC-8E3E50F17962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C01661-25C8-4BB6-B5CB-C2D7C8BE7AC0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318874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three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639666D-68C7-422A-9B9A-CAD7324D6E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459266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19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639666D-68C7-422A-9B9A-CAD7324D6E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Текст 24">
            <a:extLst>
              <a:ext uri="{FF2B5EF4-FFF2-40B4-BE49-F238E27FC236}">
                <a16:creationId xmlns:a16="http://schemas.microsoft.com/office/drawing/2014/main" id="{D7B291BE-FAAD-4BA7-BC06-944A533702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09819" y="2392769"/>
            <a:ext cx="2946687" cy="3961993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06D47F3C-3AD7-448C-B88E-EA899C21B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8" y="565981"/>
            <a:ext cx="9285118" cy="838177"/>
          </a:xfrm>
          <a:prstGeom prst="rect">
            <a:avLst/>
          </a:prstGeom>
        </p:spPr>
        <p:txBody>
          <a:bodyPr vert="horz"/>
          <a:lstStyle>
            <a:lvl1pPr>
              <a:defRPr sz="2400" spc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6" name="Текст 24">
            <a:extLst>
              <a:ext uri="{FF2B5EF4-FFF2-40B4-BE49-F238E27FC236}">
                <a16:creationId xmlns:a16="http://schemas.microsoft.com/office/drawing/2014/main" id="{100EE2D7-E0DE-4CD8-89EF-086E0C9A8F8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7" name="Текст 24">
            <a:extLst>
              <a:ext uri="{FF2B5EF4-FFF2-40B4-BE49-F238E27FC236}">
                <a16:creationId xmlns:a16="http://schemas.microsoft.com/office/drawing/2014/main" id="{AAFB4559-F3D1-4C8E-8FD9-23609BC9F1C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Date Placeholder 44">
            <a:extLst>
              <a:ext uri="{FF2B5EF4-FFF2-40B4-BE49-F238E27FC236}">
                <a16:creationId xmlns:a16="http://schemas.microsoft.com/office/drawing/2014/main" id="{A3EC832A-52B8-43CD-BB56-4C2C5EC9D80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>
                    <a:lumMod val="75000"/>
                  </a:schemeClr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39" name="Slide Number Placeholder 45">
            <a:extLst>
              <a:ext uri="{FF2B5EF4-FFF2-40B4-BE49-F238E27FC236}">
                <a16:creationId xmlns:a16="http://schemas.microsoft.com/office/drawing/2014/main" id="{C456FE32-F880-4323-BE6C-D2DD9C7149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0" name="Нижний колонтитул 1">
            <a:extLst>
              <a:ext uri="{FF2B5EF4-FFF2-40B4-BE49-F238E27FC236}">
                <a16:creationId xmlns:a16="http://schemas.microsoft.com/office/drawing/2014/main" id="{AF6D946E-7AFB-4C3C-8347-50086C9E21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 dirty="0"/>
              <a:t>Конфиденциально</a:t>
            </a:r>
          </a:p>
        </p:txBody>
      </p:sp>
      <p:sp>
        <p:nvSpPr>
          <p:cNvPr id="44" name="Текст 24">
            <a:extLst>
              <a:ext uri="{FF2B5EF4-FFF2-40B4-BE49-F238E27FC236}">
                <a16:creationId xmlns:a16="http://schemas.microsoft.com/office/drawing/2014/main" id="{43B09E92-7E4F-4E91-8709-A24F41D2368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478974" y="2392769"/>
            <a:ext cx="2946687" cy="3961993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46" name="Текст 24">
            <a:extLst>
              <a:ext uri="{FF2B5EF4-FFF2-40B4-BE49-F238E27FC236}">
                <a16:creationId xmlns:a16="http://schemas.microsoft.com/office/drawing/2014/main" id="{935D42FB-6971-4208-8329-E1BAC674AAB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648128" y="2392769"/>
            <a:ext cx="2946687" cy="3961993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F5B67964-75BB-4972-A4E9-F8ED3285DFE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09564" y="1576388"/>
            <a:ext cx="2946399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8D67CB28-820F-4133-91C8-226B3F6F5D07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481389" y="1576388"/>
            <a:ext cx="2946399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07710648-F6F4-4A93-875B-8AD78588EBD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6653214" y="1576388"/>
            <a:ext cx="2946399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C94F7FB6-9BCC-4947-8A2A-58FB1C1B5926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F8D2EA-D4A3-409D-8DB1-8FF4EDB47D6E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94441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E3615EEB-FED3-4077-BDE4-6B7E1BE739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905715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68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E3615EEB-FED3-4077-BDE4-6B7E1BE739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4">
            <a:extLst>
              <a:ext uri="{FF2B5EF4-FFF2-40B4-BE49-F238E27FC236}">
                <a16:creationId xmlns:a16="http://schemas.microsoft.com/office/drawing/2014/main" id="{76EE8834-F12F-593D-D251-238A5A7EA3DE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6649495" y="577941"/>
            <a:ext cx="2946687" cy="5776821"/>
          </a:xfrm>
          <a:prstGeom prst="rect">
            <a:avLst/>
          </a:prstGeom>
          <a:solidFill>
            <a:srgbClr val="E5E5E5"/>
          </a:solidFill>
        </p:spPr>
        <p:txBody>
          <a:bodyPr anchor="ctr"/>
          <a:lstStyle>
            <a:lvl1pPr marL="0" indent="0" algn="ctr">
              <a:buFontTx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7E2DFCF3-0841-4149-81F1-9AFA19627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9" y="565981"/>
            <a:ext cx="6115853" cy="840718"/>
          </a:xfrm>
          <a:prstGeom prst="rect">
            <a:avLst/>
          </a:prstGeom>
        </p:spPr>
        <p:txBody>
          <a:bodyPr vert="horz"/>
          <a:lstStyle>
            <a:lvl1pPr>
              <a:lnSpc>
                <a:spcPct val="90000"/>
              </a:lnSpc>
              <a:defRPr sz="2000" spc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4" name="Текст 24">
            <a:extLst>
              <a:ext uri="{FF2B5EF4-FFF2-40B4-BE49-F238E27FC236}">
                <a16:creationId xmlns:a16="http://schemas.microsoft.com/office/drawing/2014/main" id="{9CCD0EFA-1AA9-4FA1-83F5-BBFB72E08BE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09819" y="3669089"/>
            <a:ext cx="6115853" cy="304121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6769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1600" b="0" i="0" kern="1200" cap="none" spc="0" baseline="0" dirty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Текст 24">
            <a:extLst>
              <a:ext uri="{FF2B5EF4-FFF2-40B4-BE49-F238E27FC236}">
                <a16:creationId xmlns:a16="http://schemas.microsoft.com/office/drawing/2014/main" id="{727F4228-6BDF-4547-9402-23A56FEFB5E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09819" y="1575895"/>
            <a:ext cx="6115853" cy="18614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ru-RU" b="0" i="0" cap="none" baseline="0" dirty="0"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Текст 24">
            <a:extLst>
              <a:ext uri="{FF2B5EF4-FFF2-40B4-BE49-F238E27FC236}">
                <a16:creationId xmlns:a16="http://schemas.microsoft.com/office/drawing/2014/main" id="{4734AAB7-A4F3-4BA1-9F7A-125FCC91831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09819" y="4149169"/>
            <a:ext cx="6115853" cy="220559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ru-RU" b="0" i="0" cap="none" baseline="0" dirty="0"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Текст 24">
            <a:extLst>
              <a:ext uri="{FF2B5EF4-FFF2-40B4-BE49-F238E27FC236}">
                <a16:creationId xmlns:a16="http://schemas.microsoft.com/office/drawing/2014/main" id="{424E61F0-7577-453C-9B81-89DF4A030248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Текст 24">
            <a:extLst>
              <a:ext uri="{FF2B5EF4-FFF2-40B4-BE49-F238E27FC236}">
                <a16:creationId xmlns:a16="http://schemas.microsoft.com/office/drawing/2014/main" id="{A8BA7FE7-9B9A-4AD0-8B6F-C4D06251971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Date Placeholder 44">
            <a:extLst>
              <a:ext uri="{FF2B5EF4-FFF2-40B4-BE49-F238E27FC236}">
                <a16:creationId xmlns:a16="http://schemas.microsoft.com/office/drawing/2014/main" id="{15F4F492-EE12-4513-BD8A-7E7B2589C0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>
                    <a:lumMod val="75000"/>
                  </a:schemeClr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31" name="Slide Number Placeholder 45">
            <a:extLst>
              <a:ext uri="{FF2B5EF4-FFF2-40B4-BE49-F238E27FC236}">
                <a16:creationId xmlns:a16="http://schemas.microsoft.com/office/drawing/2014/main" id="{A6D68C17-2BB7-4483-AFCD-4FEAAEC97B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2" name="Нижний колонтитул 1">
            <a:extLst>
              <a:ext uri="{FF2B5EF4-FFF2-40B4-BE49-F238E27FC236}">
                <a16:creationId xmlns:a16="http://schemas.microsoft.com/office/drawing/2014/main" id="{990D2BB8-8AE4-4F35-80D0-D076E0ED3E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 dirty="0"/>
              <a:t>Конфиденциально</a:t>
            </a:r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8EDD8059-6BEE-47CB-BF72-74BC95C256DC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D0AA1FA-AD37-4425-BA4C-1160247909F6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888168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A9E11A-7597-4A3F-8A33-FE084D4FBF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8892530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692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A9E11A-7597-4A3F-8A33-FE084D4FBF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Рисунок 4">
            <a:extLst>
              <a:ext uri="{FF2B5EF4-FFF2-40B4-BE49-F238E27FC236}">
                <a16:creationId xmlns:a16="http://schemas.microsoft.com/office/drawing/2014/main" id="{36666D68-C2EB-1E4F-9E7A-B21FB3C4ED6C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4953000" y="36749"/>
            <a:ext cx="4953000" cy="6821251"/>
          </a:xfrm>
          <a:prstGeom prst="rect">
            <a:avLst/>
          </a:prstGeom>
          <a:solidFill>
            <a:srgbClr val="E5E5E5"/>
          </a:solidFill>
        </p:spPr>
        <p:txBody>
          <a:bodyPr anchor="ctr"/>
          <a:lstStyle>
            <a:lvl1pPr marL="0" indent="0" algn="ctr">
              <a:buFontTx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13" name="Текст 24">
            <a:extLst>
              <a:ext uri="{FF2B5EF4-FFF2-40B4-BE49-F238E27FC236}">
                <a16:creationId xmlns:a16="http://schemas.microsoft.com/office/drawing/2014/main" id="{9F9EBF77-3686-407F-9195-6B2E84CABB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09819" y="2392769"/>
            <a:ext cx="2153716" cy="3961993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4" name="Текст 24">
            <a:extLst>
              <a:ext uri="{FF2B5EF4-FFF2-40B4-BE49-F238E27FC236}">
                <a16:creationId xmlns:a16="http://schemas.microsoft.com/office/drawing/2014/main" id="{62460E48-5AEC-4BE4-88D2-B29F7CDA288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Нижний колонтитул 1">
            <a:extLst>
              <a:ext uri="{FF2B5EF4-FFF2-40B4-BE49-F238E27FC236}">
                <a16:creationId xmlns:a16="http://schemas.microsoft.com/office/drawing/2014/main" id="{0EE9D8E8-2A58-41B7-B592-8EABDE7FDB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 dirty="0"/>
              <a:t>Конфиденциально</a:t>
            </a:r>
          </a:p>
        </p:txBody>
      </p:sp>
      <p:sp>
        <p:nvSpPr>
          <p:cNvPr id="27" name="Текст 24">
            <a:extLst>
              <a:ext uri="{FF2B5EF4-FFF2-40B4-BE49-F238E27FC236}">
                <a16:creationId xmlns:a16="http://schemas.microsoft.com/office/drawing/2014/main" id="{705A7975-8397-4AC3-8D44-555B7BFE9772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2686001" y="2392769"/>
            <a:ext cx="2153716" cy="3961993"/>
          </a:xfrm>
          <a:prstGeom prst="rect">
            <a:avLst/>
          </a:prstGeom>
        </p:spPr>
        <p:txBody>
          <a:bodyPr lIns="0" tIns="0" rIns="0" bIns="0"/>
          <a:lstStyle>
            <a:lvl1pPr marL="190492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b="0" i="0" kern="1200" cap="none" baseline="0" dirty="0" smtClean="0">
                <a:solidFill>
                  <a:schemeClr val="tx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380984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2pPr>
            <a:lvl3pPr marL="571475" indent="-190492">
              <a:buClr>
                <a:schemeClr val="accent1"/>
              </a:buClr>
              <a:buFont typeface="Courier New" panose="02070309020205020404" pitchFamily="49" charset="0"/>
              <a:buChar char="o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3pPr>
            <a:lvl4pPr marL="761966" indent="-190492">
              <a:buClr>
                <a:schemeClr val="accent1"/>
              </a:buClr>
              <a:buFont typeface="Arial" panose="020B0604020202020204" pitchFamily="34" charset="0"/>
              <a:buChar char="•"/>
              <a:defRPr lang="ru-RU" sz="1000" kern="1200" dirty="0" smtClean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4pPr>
            <a:lvl5pPr marL="952458" indent="-190492">
              <a:buClr>
                <a:schemeClr val="accent1"/>
              </a:buClr>
              <a:buFont typeface="Arial" panose="020B0604020202020204" pitchFamily="34" charset="0"/>
              <a:buChar char="–"/>
              <a:defRPr lang="ru-RU" sz="1000" kern="1200" dirty="0">
                <a:solidFill>
                  <a:schemeClr val="tx1"/>
                </a:solidFill>
                <a:latin typeface="+mn-lt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7F41D007-6688-44E3-86C8-43D74B34A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8" y="565981"/>
            <a:ext cx="4531266" cy="838177"/>
          </a:xfrm>
          <a:prstGeom prst="rect">
            <a:avLst/>
          </a:prstGeom>
        </p:spPr>
        <p:txBody>
          <a:bodyPr vert="horz"/>
          <a:lstStyle>
            <a:lvl1pPr>
              <a:lnSpc>
                <a:spcPct val="90000"/>
              </a:lnSpc>
              <a:defRPr sz="2400" spc="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B676C9DC-1CC1-45DE-938A-A211B07FB854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09564" y="1576388"/>
            <a:ext cx="2153668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FE6503B2-7D09-4D63-B308-B1B91ADA39E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2686001" y="1576388"/>
            <a:ext cx="2153668" cy="66518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lnSpc>
                <a:spcPct val="90000"/>
              </a:lnSpc>
              <a:defRPr lang="en-US" sz="1600" b="0" i="0" cap="none" spc="0" baseline="0" smtClean="0">
                <a:solidFill>
                  <a:schemeClr val="accent1"/>
                </a:solidFill>
                <a:latin typeface="Times New Roman" panose="02020603050405020304" pitchFamily="18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>
              <a:defRPr lang="en-US" sz="180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>
              <a:defRPr lang="ru-RU" sz="180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marL="0"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sp>
        <p:nvSpPr>
          <p:cNvPr id="31" name="Date Placeholder 44">
            <a:extLst>
              <a:ext uri="{FF2B5EF4-FFF2-40B4-BE49-F238E27FC236}">
                <a16:creationId xmlns:a16="http://schemas.microsoft.com/office/drawing/2014/main" id="{11CA563A-1DED-4EC9-9086-EFF27A4F27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1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32" name="Slide Number Placeholder 45">
            <a:extLst>
              <a:ext uri="{FF2B5EF4-FFF2-40B4-BE49-F238E27FC236}">
                <a16:creationId xmlns:a16="http://schemas.microsoft.com/office/drawing/2014/main" id="{5C396704-9F2B-42D6-8508-ED1D0A644F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1"/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3" name="Текст 24">
            <a:extLst>
              <a:ext uri="{FF2B5EF4-FFF2-40B4-BE49-F238E27FC236}">
                <a16:creationId xmlns:a16="http://schemas.microsoft.com/office/drawing/2014/main" id="{58FAFCF4-7BA0-4BB0-8780-E1B56231B330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Текст 10">
            <a:extLst>
              <a:ext uri="{FF2B5EF4-FFF2-40B4-BE49-F238E27FC236}">
                <a16:creationId xmlns:a16="http://schemas.microsoft.com/office/drawing/2014/main" id="{241D5C3C-7351-4803-AD5F-A580CF7C10A1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3675190-982A-41F6-8B1A-DD7F7E4260C1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44208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blanck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B871A4-4405-4BF0-9C7B-64E6B8BFAAC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4086610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37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B871A4-4405-4BF0-9C7B-64E6B8BFAA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4">
            <a:extLst>
              <a:ext uri="{FF2B5EF4-FFF2-40B4-BE49-F238E27FC236}">
                <a16:creationId xmlns:a16="http://schemas.microsoft.com/office/drawing/2014/main" id="{4CC970A7-BB9E-4D54-9BB5-172A867F57F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>
                    <a:lumMod val="75000"/>
                  </a:schemeClr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8" name="Slide Number Placeholder 45">
            <a:extLst>
              <a:ext uri="{FF2B5EF4-FFF2-40B4-BE49-F238E27FC236}">
                <a16:creationId xmlns:a16="http://schemas.microsoft.com/office/drawing/2014/main" id="{7DF26B5D-9115-409A-ADD9-147519373B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9" name="Нижний колонтитул 1">
            <a:extLst>
              <a:ext uri="{FF2B5EF4-FFF2-40B4-BE49-F238E27FC236}">
                <a16:creationId xmlns:a16="http://schemas.microsoft.com/office/drawing/2014/main" id="{842CBBE1-6DEC-49B0-B661-D7A8A6FE9D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/>
              <a:t>Конфиденциально</a:t>
            </a:r>
          </a:p>
        </p:txBody>
      </p:sp>
      <p:sp>
        <p:nvSpPr>
          <p:cNvPr id="10" name="Текст 10">
            <a:extLst>
              <a:ext uri="{FF2B5EF4-FFF2-40B4-BE49-F238E27FC236}">
                <a16:creationId xmlns:a16="http://schemas.microsoft.com/office/drawing/2014/main" id="{29901DBE-C38B-45C4-8883-0C3CA156EF07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A5D7CE-2287-4C07-A9F2-0F198F09C224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655751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blank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EB6A007-6848-49EC-8F99-93D92521CF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6424107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6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EB6A007-6848-49EC-8F99-93D92521CF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F950C8E-0D1C-48B4-934F-60322C9128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1" name="Текст 24">
            <a:extLst>
              <a:ext uri="{FF2B5EF4-FFF2-40B4-BE49-F238E27FC236}">
                <a16:creationId xmlns:a16="http://schemas.microsoft.com/office/drawing/2014/main" id="{91A95162-0427-4C93-A5F9-33B237C168A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9818" y="276033"/>
            <a:ext cx="4531266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Текст 24">
            <a:extLst>
              <a:ext uri="{FF2B5EF4-FFF2-40B4-BE49-F238E27FC236}">
                <a16:creationId xmlns:a16="http://schemas.microsoft.com/office/drawing/2014/main" id="{4BD8012A-9536-4439-9E11-444E2D3CB63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5063552" y="276033"/>
            <a:ext cx="4532631" cy="114244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spcAft>
                <a:spcPts val="0"/>
              </a:spcAft>
              <a:buNone/>
              <a:defRPr lang="ru-RU" sz="900" b="0" i="0" kern="1200" cap="all" baseline="0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83849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2pPr>
            <a:lvl3pPr marL="967698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3pPr>
            <a:lvl4pPr marL="1451546" indent="0">
              <a:buNone/>
              <a:defRPr lang="ru-RU" sz="741" kern="1200" dirty="0" smtClean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4pPr>
            <a:lvl5pPr marL="1935395" indent="0">
              <a:buNone/>
              <a:defRPr lang="ru-RU" sz="741" kern="1200" dirty="0">
                <a:solidFill>
                  <a:schemeClr val="bg1">
                    <a:lumMod val="50000"/>
                  </a:schemeClr>
                </a:solidFill>
                <a:latin typeface="Beeline Sans V0.3 Regular" pitchFamily="2" charset="0"/>
                <a:ea typeface="Beeline Sans V0.3 Regular" pitchFamily="2" charset="0"/>
                <a:cs typeface="Arial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Date Placeholder 44">
            <a:extLst>
              <a:ext uri="{FF2B5EF4-FFF2-40B4-BE49-F238E27FC236}">
                <a16:creationId xmlns:a16="http://schemas.microsoft.com/office/drawing/2014/main" id="{61A39DEE-4625-4518-B5FB-B200940AFD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>
                    <a:lumMod val="75000"/>
                  </a:schemeClr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14" name="Slide Number Placeholder 45">
            <a:extLst>
              <a:ext uri="{FF2B5EF4-FFF2-40B4-BE49-F238E27FC236}">
                <a16:creationId xmlns:a16="http://schemas.microsoft.com/office/drawing/2014/main" id="{E54B416B-1BA0-46B3-963D-55BE5615D6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5" name="Нижний колонтитул 1">
            <a:extLst>
              <a:ext uri="{FF2B5EF4-FFF2-40B4-BE49-F238E27FC236}">
                <a16:creationId xmlns:a16="http://schemas.microsoft.com/office/drawing/2014/main" id="{8DA54F39-14A4-4E50-BFD0-69C19CA2A0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 dirty="0"/>
              <a:t>Конфиденциально</a:t>
            </a:r>
          </a:p>
        </p:txBody>
      </p:sp>
      <p:sp>
        <p:nvSpPr>
          <p:cNvPr id="9" name="Текст 10">
            <a:extLst>
              <a:ext uri="{FF2B5EF4-FFF2-40B4-BE49-F238E27FC236}">
                <a16:creationId xmlns:a16="http://schemas.microsoft.com/office/drawing/2014/main" id="{5D6A80C9-3267-4EAD-BAE4-8C3083F5DF77}"/>
              </a:ext>
            </a:extLst>
          </p:cNvPr>
          <p:cNvSpPr txBox="1">
            <a:spLocks/>
          </p:cNvSpPr>
          <p:nvPr/>
        </p:nvSpPr>
        <p:spPr>
          <a:xfrm>
            <a:off x="309818" y="6515939"/>
            <a:ext cx="1548000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ru-RU"/>
            </a:defPPr>
            <a:lvl1pPr>
              <a:defRPr sz="900">
                <a:solidFill>
                  <a:schemeClr val="bg2">
                    <a:lumMod val="75000"/>
                  </a:schemeClr>
                </a:solidFill>
                <a:ea typeface="Beeline Sans V0.3 Regular" pitchFamily="2" charset="0"/>
                <a:cs typeface="Arial" charset="0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ru-RU" sz="900" dirty="0">
                <a:latin typeface="+mn-lt"/>
              </a:rPr>
              <a:t>Технологии Доверия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A1F44F-EAFB-4E08-9FE7-0B95430E14E9}"/>
              </a:ext>
            </a:extLst>
          </p:cNvPr>
          <p:cNvSpPr/>
          <p:nvPr/>
        </p:nvSpPr>
        <p:spPr>
          <a:xfrm>
            <a:off x="0" y="0"/>
            <a:ext cx="9906000" cy="380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RU" sz="1482" dirty="0" err="1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813234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548357C-EF85-4C2B-A37F-B4A63DE118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7564890"/>
              </p:ext>
            </p:extLst>
          </p:nvPr>
        </p:nvGraphicFramePr>
        <p:xfrm>
          <a:off x="1291" y="1589"/>
          <a:ext cx="129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85" name="think-cell Slide" r:id="rId4" imgW="479" imgH="481" progId="TCLayout.ActiveDocument.1">
                  <p:embed/>
                </p:oleObj>
              </mc:Choice>
              <mc:Fallback>
                <p:oleObj name="think-cell Slide" r:id="rId4" imgW="479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548357C-EF85-4C2B-A37F-B4A63DE118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Rectangle 47">
            <a:extLst>
              <a:ext uri="{FF2B5EF4-FFF2-40B4-BE49-F238E27FC236}">
                <a16:creationId xmlns:a16="http://schemas.microsoft.com/office/drawing/2014/main" id="{1CC00A12-E1E8-4D52-A6A9-534BBE66C320}"/>
              </a:ext>
            </a:extLst>
          </p:cNvPr>
          <p:cNvSpPr/>
          <p:nvPr/>
        </p:nvSpPr>
        <p:spPr>
          <a:xfrm>
            <a:off x="0" y="6476627"/>
            <a:ext cx="9906000" cy="381373"/>
          </a:xfrm>
          <a:prstGeom prst="rect">
            <a:avLst/>
          </a:prstGeom>
          <a:solidFill>
            <a:srgbClr val="0048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latin typeface="Times New Roman" panose="02020603050405020304" pitchFamily="18" charset="0"/>
            </a:endParaRPr>
          </a:p>
        </p:txBody>
      </p:sp>
      <p:sp>
        <p:nvSpPr>
          <p:cNvPr id="9" name="Title 20">
            <a:extLst>
              <a:ext uri="{FF2B5EF4-FFF2-40B4-BE49-F238E27FC236}">
                <a16:creationId xmlns:a16="http://schemas.microsoft.com/office/drawing/2014/main" id="{5FAF8D82-8CF2-452B-AF77-E26AA7555F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383" y="5371008"/>
            <a:ext cx="9286363" cy="1142969"/>
          </a:xfrm>
          <a:prstGeom prst="rect">
            <a:avLst/>
          </a:prstGeom>
        </p:spPr>
        <p:txBody>
          <a:bodyPr vert="horz" wrap="square" bIns="0" anchor="b">
            <a:noAutofit/>
          </a:bodyPr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«Технологии Доверия» (www.tedo.ru) предоставляет аудиторские и консультационные услуги компаниям разных отраслей. </a:t>
            </a:r>
            <a:br>
              <a:rPr lang="ru-RU" dirty="0"/>
            </a:br>
            <a:r>
              <a:rPr lang="ru-RU" dirty="0"/>
              <a:t>В офисах «Технологий Доверия» в Москве, Санкт-Петербурге, Екатеринбурге, Казани, Новосибирске, </a:t>
            </a:r>
            <a:r>
              <a:rPr lang="ru-RU" dirty="0" err="1"/>
              <a:t>Ростове</a:t>
            </a:r>
            <a:r>
              <a:rPr lang="ru-RU" dirty="0"/>
              <a:t>-на-Дону, Краснодаре, Воронеже, Владикавказе, </a:t>
            </a:r>
            <a:r>
              <a:rPr lang="ru-RU"/>
              <a:t>Перми и </a:t>
            </a:r>
            <a:r>
              <a:rPr lang="ru-RU" dirty="0"/>
              <a:t>Нижнем Новгороде работают 3 000 специалистов. Мы используем свои знания, богатый опыт и творческий подход для разработки практических советов и решений, открывающих новые перспективы для бизнеса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© 2022 «Технологии Доверия». Все права защищены.</a:t>
            </a:r>
            <a:endParaRPr lang="en-GB" dirty="0"/>
          </a:p>
        </p:txBody>
      </p:sp>
      <p:sp>
        <p:nvSpPr>
          <p:cNvPr id="49" name="Subtitle 10">
            <a:extLst>
              <a:ext uri="{FF2B5EF4-FFF2-40B4-BE49-F238E27FC236}">
                <a16:creationId xmlns:a16="http://schemas.microsoft.com/office/drawing/2014/main" id="{60923D8D-DBFF-4ADB-99E7-DD79E00F8639}"/>
              </a:ext>
            </a:extLst>
          </p:cNvPr>
          <p:cNvSpPr txBox="1">
            <a:spLocks/>
          </p:cNvSpPr>
          <p:nvPr/>
        </p:nvSpPr>
        <p:spPr>
          <a:xfrm>
            <a:off x="301992" y="4872618"/>
            <a:ext cx="39594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6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85825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5375" indent="-2857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2075" indent="-2857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edo.r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DD7EC3-D4CA-4B89-922A-8B21E9C9E2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20" y="3440922"/>
            <a:ext cx="2990629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8630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068AC2-AEA0-4D85-8ED8-26B15B0227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730636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38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068AC2-AEA0-4D85-8ED8-26B15B0227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phic 8">
            <a:extLst>
              <a:ext uri="{FF2B5EF4-FFF2-40B4-BE49-F238E27FC236}">
                <a16:creationId xmlns:a16="http://schemas.microsoft.com/office/drawing/2014/main" id="{72EE97CD-095D-458D-BBF3-9BB92F39EB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091962" y="577850"/>
            <a:ext cx="6823370" cy="6280150"/>
          </a:xfrm>
          <a:prstGeom prst="rect">
            <a:avLst/>
          </a:prstGeom>
        </p:spPr>
      </p:pic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B3E79296-5E26-4D50-9D17-A70477815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2" y="941907"/>
            <a:ext cx="6911497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800" dirty="0">
                <a:solidFill>
                  <a:srgbClr val="BDC5CA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0" name="Дата 2">
            <a:extLst>
              <a:ext uri="{FF2B5EF4-FFF2-40B4-BE49-F238E27FC236}">
                <a16:creationId xmlns:a16="http://schemas.microsoft.com/office/drawing/2014/main" id="{94A65CB1-1937-43C2-B354-1A352DA47AB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1" name="Текст 10">
            <a:extLst>
              <a:ext uri="{FF2B5EF4-FFF2-40B4-BE49-F238E27FC236}">
                <a16:creationId xmlns:a16="http://schemas.microsoft.com/office/drawing/2014/main" id="{9EE842E6-93C4-4E89-8E38-59B59B568F3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8454" y="3428999"/>
            <a:ext cx="4527852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rgbClr val="BDC5CA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13314D3-01A7-415C-9547-24A22611DC5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773588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nd cover pictu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548357C-EF85-4C2B-A37F-B4A63DE118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052891"/>
              </p:ext>
            </p:extLst>
          </p:nvPr>
        </p:nvGraphicFramePr>
        <p:xfrm>
          <a:off x="1291" y="1589"/>
          <a:ext cx="129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810" name="think-cell Slide" r:id="rId4" imgW="479" imgH="481" progId="TCLayout.ActiveDocument.1">
                  <p:embed/>
                </p:oleObj>
              </mc:Choice>
              <mc:Fallback>
                <p:oleObj name="think-cell Slide" r:id="rId4" imgW="479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548357C-EF85-4C2B-A37F-B4A63DE118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324DEA1D-77B1-430F-9EBA-144FB4FDC5B4}"/>
              </a:ext>
            </a:extLst>
          </p:cNvPr>
          <p:cNvSpPr/>
          <p:nvPr/>
        </p:nvSpPr>
        <p:spPr>
          <a:xfrm>
            <a:off x="0" y="4151702"/>
            <a:ext cx="9906000" cy="27062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482" dirty="0" err="1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1CC00A12-E1E8-4D52-A6A9-534BBE66C320}"/>
              </a:ext>
            </a:extLst>
          </p:cNvPr>
          <p:cNvSpPr/>
          <p:nvPr/>
        </p:nvSpPr>
        <p:spPr>
          <a:xfrm>
            <a:off x="0" y="6527800"/>
            <a:ext cx="9906000" cy="330200"/>
          </a:xfrm>
          <a:prstGeom prst="rect">
            <a:avLst/>
          </a:prstGeom>
          <a:solidFill>
            <a:srgbClr val="0048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>
              <a:latin typeface="Times New Roman" panose="02020603050405020304" pitchFamily="18" charset="0"/>
            </a:endParaRPr>
          </a:p>
        </p:txBody>
      </p:sp>
      <p:sp>
        <p:nvSpPr>
          <p:cNvPr id="10" name="Рисунок 4">
            <a:extLst>
              <a:ext uri="{FF2B5EF4-FFF2-40B4-BE49-F238E27FC236}">
                <a16:creationId xmlns:a16="http://schemas.microsoft.com/office/drawing/2014/main" id="{2A0571D4-FEEF-4597-8EB1-65AFD6F9233F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" y="36009"/>
            <a:ext cx="9905998" cy="4115693"/>
          </a:xfrm>
          <a:prstGeom prst="rect">
            <a:avLst/>
          </a:prstGeom>
          <a:solidFill>
            <a:srgbClr val="E5E5E5"/>
          </a:solidFill>
        </p:spPr>
        <p:txBody>
          <a:bodyPr anchor="ctr"/>
          <a:lstStyle>
            <a:lvl1pPr marL="0" indent="0" algn="ctr">
              <a:buFontTx/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13" name="Title 20">
            <a:extLst>
              <a:ext uri="{FF2B5EF4-FFF2-40B4-BE49-F238E27FC236}">
                <a16:creationId xmlns:a16="http://schemas.microsoft.com/office/drawing/2014/main" id="{ABBA5344-D8CB-41E9-8A72-6BBE2C4C1F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2383" y="5371008"/>
            <a:ext cx="9286363" cy="1142969"/>
          </a:xfrm>
          <a:prstGeom prst="rect">
            <a:avLst/>
          </a:prstGeom>
        </p:spPr>
        <p:txBody>
          <a:bodyPr vert="horz" wrap="square" bIns="0" anchor="b">
            <a:noAutofit/>
          </a:bodyPr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«Технологии Доверия» (www.tedo.ru) предоставляет аудиторские и консультационные услуги компаниям разных отраслей. </a:t>
            </a:r>
            <a:br>
              <a:rPr lang="ru-RU" dirty="0"/>
            </a:br>
            <a:r>
              <a:rPr lang="ru-RU" dirty="0"/>
              <a:t>В офисах «Технологий Доверия» в Москве, Санкт-Петербурге, Екатеринбурге, Казани, Новосибирске, </a:t>
            </a:r>
            <a:r>
              <a:rPr lang="ru-RU" dirty="0" err="1"/>
              <a:t>Ростове</a:t>
            </a:r>
            <a:r>
              <a:rPr lang="ru-RU" dirty="0"/>
              <a:t>-на-Дону, Краснодаре, Воронеже, Владикавказе, </a:t>
            </a:r>
            <a:r>
              <a:rPr lang="ru-RU"/>
              <a:t>Перми и </a:t>
            </a:r>
            <a:r>
              <a:rPr lang="ru-RU" dirty="0"/>
              <a:t>Нижнем Новгороде работают 3 000 специалистов. Мы используем свои знания, богатый опыт и творческий подход для разработки практических советов и решений, открывающих новые перспективы для бизнеса.</a:t>
            </a:r>
            <a:br>
              <a:rPr lang="ru-RU" dirty="0"/>
            </a:br>
            <a:br>
              <a:rPr lang="ru-RU" dirty="0"/>
            </a:br>
            <a:r>
              <a:rPr lang="ru-RU" dirty="0"/>
              <a:t>© 2022 «Технологии Доверия». Все права защищены.</a:t>
            </a:r>
            <a:endParaRPr lang="en-GB" dirty="0"/>
          </a:p>
        </p:txBody>
      </p:sp>
      <p:sp>
        <p:nvSpPr>
          <p:cNvPr id="14" name="Subtitle 10">
            <a:extLst>
              <a:ext uri="{FF2B5EF4-FFF2-40B4-BE49-F238E27FC236}">
                <a16:creationId xmlns:a16="http://schemas.microsoft.com/office/drawing/2014/main" id="{BEC95309-F332-4B8A-A2F6-48B9D9B50B3A}"/>
              </a:ext>
            </a:extLst>
          </p:cNvPr>
          <p:cNvSpPr txBox="1">
            <a:spLocks/>
          </p:cNvSpPr>
          <p:nvPr/>
        </p:nvSpPr>
        <p:spPr>
          <a:xfrm>
            <a:off x="301992" y="4872618"/>
            <a:ext cx="395942" cy="1384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600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85825" indent="-3429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5375" indent="-2857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62075" indent="-28575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edo.ru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CC6C311-A8C0-4018-9690-066FE4CEBE4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383" y="4287839"/>
            <a:ext cx="1495313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1699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72B01D0-3B58-4A90-9183-5AA9E4EF88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911934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2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72B01D0-3B58-4A90-9183-5AA9E4EF8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C9AFA8E-05B6-4E80-B376-35D73355AF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4503" y="0"/>
            <a:ext cx="6911497" cy="6858000"/>
          </a:xfrm>
          <a:prstGeom prst="rect">
            <a:avLst/>
          </a:prstGeom>
        </p:spPr>
      </p:pic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856DFFB9-33F1-493E-8362-6EE46BB84E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2" y="941907"/>
            <a:ext cx="6911497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800" dirty="0">
                <a:solidFill>
                  <a:srgbClr val="BDC5CA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1" name="Дата 2">
            <a:extLst>
              <a:ext uri="{FF2B5EF4-FFF2-40B4-BE49-F238E27FC236}">
                <a16:creationId xmlns:a16="http://schemas.microsoft.com/office/drawing/2014/main" id="{C2F70BA1-C492-4D1A-A165-D3020CBD935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22" name="Текст 10">
            <a:extLst>
              <a:ext uri="{FF2B5EF4-FFF2-40B4-BE49-F238E27FC236}">
                <a16:creationId xmlns:a16="http://schemas.microsoft.com/office/drawing/2014/main" id="{1E9C0C62-6BE6-4B14-90CA-153F3D796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8454" y="3428999"/>
            <a:ext cx="4527852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rgbClr val="BDC5CA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50EF4B-3DE3-46D7-9451-136C8D425C2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21000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631DAB-FB51-403E-98C7-5409453488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8761787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87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4631DAB-FB51-403E-98C7-540945348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2E7777D-0787-45AD-A2E3-346895F07C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3" y="941907"/>
            <a:ext cx="4533422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800" dirty="0">
                <a:solidFill>
                  <a:srgbClr val="BDC5CA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Дата 2">
            <a:extLst>
              <a:ext uri="{FF2B5EF4-FFF2-40B4-BE49-F238E27FC236}">
                <a16:creationId xmlns:a16="http://schemas.microsoft.com/office/drawing/2014/main" id="{E493DD76-1540-49C2-B48A-4E02DD9768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2" name="Текст 10">
            <a:extLst>
              <a:ext uri="{FF2B5EF4-FFF2-40B4-BE49-F238E27FC236}">
                <a16:creationId xmlns:a16="http://schemas.microsoft.com/office/drawing/2014/main" id="{31172A25-4AA6-4378-BB27-8A555BDBCB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8454" y="3428999"/>
            <a:ext cx="4527852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rgbClr val="BDC5CA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D25B71B7-0F06-4CE4-BB08-1874398E2B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40101" y="0"/>
            <a:ext cx="65659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8D74BE9-BDBA-42A3-A47D-15AC47AB087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143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5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631DAB-FB51-403E-98C7-5409453488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4839111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11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4631DAB-FB51-403E-98C7-540945348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Заголовок 1">
            <a:extLst>
              <a:ext uri="{FF2B5EF4-FFF2-40B4-BE49-F238E27FC236}">
                <a16:creationId xmlns:a16="http://schemas.microsoft.com/office/drawing/2014/main" id="{0B67AE9F-385C-4293-B047-9CAB73367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3" y="941907"/>
            <a:ext cx="4533422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800" dirty="0">
                <a:solidFill>
                  <a:srgbClr val="BDC5CA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9" name="Дата 2">
            <a:extLst>
              <a:ext uri="{FF2B5EF4-FFF2-40B4-BE49-F238E27FC236}">
                <a16:creationId xmlns:a16="http://schemas.microsoft.com/office/drawing/2014/main" id="{9C0ECE88-7C97-4C3D-86D5-F7F756C4C10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40" name="Текст 10">
            <a:extLst>
              <a:ext uri="{FF2B5EF4-FFF2-40B4-BE49-F238E27FC236}">
                <a16:creationId xmlns:a16="http://schemas.microsoft.com/office/drawing/2014/main" id="{9EA729E2-AD2C-419D-8695-4083C3A94E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8454" y="3428999"/>
            <a:ext cx="4527852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rgbClr val="BDC5CA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B48D05A-76D7-4656-8C05-269ADDB245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94470" y="0"/>
            <a:ext cx="711153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B489289-815B-4228-889C-009ACE8A328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938430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4631DAB-FB51-403E-98C7-5409453488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4062293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34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4631DAB-FB51-403E-98C7-5409453488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3CAC2759-8E5E-4C73-B8F5-B0619A2923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3" y="941907"/>
            <a:ext cx="4533422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800" dirty="0">
                <a:solidFill>
                  <a:srgbClr val="BDC5CA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7" name="Дата 2">
            <a:extLst>
              <a:ext uri="{FF2B5EF4-FFF2-40B4-BE49-F238E27FC236}">
                <a16:creationId xmlns:a16="http://schemas.microsoft.com/office/drawing/2014/main" id="{5BCE08F5-1D19-49E7-93DB-05E5BBE3A3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8" name="Текст 10">
            <a:extLst>
              <a:ext uri="{FF2B5EF4-FFF2-40B4-BE49-F238E27FC236}">
                <a16:creationId xmlns:a16="http://schemas.microsoft.com/office/drawing/2014/main" id="{DD9EF75E-C143-4643-AD04-CB755730CF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8454" y="3428999"/>
            <a:ext cx="4527852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rgbClr val="BDC5CA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A8069F5-517F-4B38-9BA7-E3FDF2F655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49241" y="1359077"/>
            <a:ext cx="7056759" cy="549892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6E06EBB-ED0D-4096-A53B-EA8C7BB16E4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619499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7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714A7BE-87C1-44F6-BF29-413B2755419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5119512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58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714A7BE-87C1-44F6-BF29-413B275541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Рисунок 4">
            <a:extLst>
              <a:ext uri="{FF2B5EF4-FFF2-40B4-BE49-F238E27FC236}">
                <a16:creationId xmlns:a16="http://schemas.microsoft.com/office/drawing/2014/main" id="{CBBC30A0-6402-4072-89EB-DA8493145A9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163568" y="2"/>
            <a:ext cx="5432613" cy="6515098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>
                <a:solidFill>
                  <a:srgbClr val="AEC4F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0BAB7CAF-3749-4083-8C4B-ABD7C75A4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453" y="941907"/>
            <a:ext cx="3169760" cy="232403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4000" dirty="0">
                <a:solidFill>
                  <a:srgbClr val="BDC5CA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6" name="Дата 2">
            <a:extLst>
              <a:ext uri="{FF2B5EF4-FFF2-40B4-BE49-F238E27FC236}">
                <a16:creationId xmlns:a16="http://schemas.microsoft.com/office/drawing/2014/main" id="{53CF549A-5C40-4904-B210-5147252637F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4625307"/>
            <a:ext cx="2153716" cy="228594"/>
          </a:xfrm>
          <a:prstGeom prst="rect">
            <a:avLst/>
          </a:prstGeom>
        </p:spPr>
        <p:txBody>
          <a:bodyPr anchor="ctr" anchorCtr="0"/>
          <a:lstStyle>
            <a:lvl1pPr algn="l">
              <a:defRPr sz="16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7" name="Текст 10">
            <a:extLst>
              <a:ext uri="{FF2B5EF4-FFF2-40B4-BE49-F238E27FC236}">
                <a16:creationId xmlns:a16="http://schemas.microsoft.com/office/drawing/2014/main" id="{7437DDAE-68A8-46FA-B006-BAA2B77273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8454" y="3428999"/>
            <a:ext cx="3169759" cy="1036292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000" b="0" i="0" cap="none" spc="0" baseline="0" dirty="0">
                <a:solidFill>
                  <a:srgbClr val="BDC5CA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2074C03-7ACC-4C23-A651-EC1661D15A8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76438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8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8BEFF77-3C5A-4FE8-B088-B07A7944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8320510"/>
              </p:ext>
            </p:extLst>
          </p:nvPr>
        </p:nvGraphicFramePr>
        <p:xfrm>
          <a:off x="1291" y="1589"/>
          <a:ext cx="1290" cy="15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83" name="think-cell Slide" r:id="rId4" imgW="479" imgH="481" progId="TCLayout.ActiveDocument.1">
                  <p:embed/>
                </p:oleObj>
              </mc:Choice>
              <mc:Fallback>
                <p:oleObj name="think-cell Slide" r:id="rId4" imgW="479" imgH="4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8BEFF77-3C5A-4FE8-B088-B07A7944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90" cy="15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Isosceles Triangle 49">
            <a:extLst>
              <a:ext uri="{FF2B5EF4-FFF2-40B4-BE49-F238E27FC236}">
                <a16:creationId xmlns:a16="http://schemas.microsoft.com/office/drawing/2014/main" id="{D12F43DC-155F-47A1-ABBC-880B9EE3C451}"/>
              </a:ext>
            </a:extLst>
          </p:cNvPr>
          <p:cNvSpPr/>
          <p:nvPr/>
        </p:nvSpPr>
        <p:spPr>
          <a:xfrm rot="16200000">
            <a:off x="933564" y="-1390762"/>
            <a:ext cx="7772399" cy="9639521"/>
          </a:xfrm>
          <a:prstGeom prst="triangle">
            <a:avLst/>
          </a:prstGeom>
          <a:gradFill>
            <a:gsLst>
              <a:gs pos="10000">
                <a:schemeClr val="accent1">
                  <a:alpha val="0"/>
                  <a:lumMod val="0"/>
                  <a:lumOff val="100000"/>
                </a:schemeClr>
              </a:gs>
              <a:gs pos="100000">
                <a:schemeClr val="bg2"/>
              </a:gs>
            </a:gsLst>
            <a:lin ang="16200000" scaled="0"/>
          </a:gradFill>
        </p:spPr>
        <p:txBody>
          <a:bodyPr vert="horz" lIns="0" tIns="0" rIns="0" bIns="0" rtlCol="0">
            <a:noAutofit/>
          </a:bodyPr>
          <a:lstStyle/>
          <a:p>
            <a:pPr marR="0" lvl="0" indent="0" defTabSz="741921" fontAlgn="base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</a:pPr>
            <a:endParaRPr lang="en-US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5CF53EF-421D-41A6-B58E-106AB07AE0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92827" y="1989545"/>
            <a:ext cx="6903354" cy="2878911"/>
          </a:xfrm>
          <a:prstGeom prst="rect">
            <a:avLst/>
          </a:prstGeom>
        </p:spPr>
        <p:txBody>
          <a:bodyPr vert="horz" wrap="square" lIns="0" tIns="0" rIns="0" bIns="0" rtlCol="0" anchor="ctr">
            <a:normAutofit/>
          </a:bodyPr>
          <a:lstStyle>
            <a:lvl1pPr>
              <a:defRPr lang="en-GB" sz="4800" dirty="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C3374FFF-F8FB-4137-8A81-DF710B8B9AD9}"/>
              </a:ext>
            </a:extLst>
          </p:cNvPr>
          <p:cNvSpPr/>
          <p:nvPr/>
        </p:nvSpPr>
        <p:spPr>
          <a:xfrm>
            <a:off x="133901" y="6651626"/>
            <a:ext cx="961178" cy="2063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/>
          </a:p>
        </p:txBody>
      </p:sp>
      <p:sp>
        <p:nvSpPr>
          <p:cNvPr id="14" name="Дата 2">
            <a:extLst>
              <a:ext uri="{FF2B5EF4-FFF2-40B4-BE49-F238E27FC236}">
                <a16:creationId xmlns:a16="http://schemas.microsoft.com/office/drawing/2014/main" id="{BB3C8B50-21EE-4AD3-AAC5-5C4904CCC7B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9819" y="349346"/>
            <a:ext cx="2167364" cy="228594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>
              <a:defRPr lang="ru-RU" sz="1693" dirty="0"/>
            </a:lvl1pPr>
          </a:lstStyle>
          <a:p>
            <a:endParaRPr lang="ru-RU"/>
          </a:p>
        </p:txBody>
      </p:sp>
      <p:sp>
        <p:nvSpPr>
          <p:cNvPr id="13" name="Текст 10">
            <a:extLst>
              <a:ext uri="{FF2B5EF4-FFF2-40B4-BE49-F238E27FC236}">
                <a16:creationId xmlns:a16="http://schemas.microsoft.com/office/drawing/2014/main" id="{A63B0F0C-43F9-44E0-BDDC-06F1728F5B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686049" y="5039284"/>
            <a:ext cx="6903353" cy="863816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lvl1pPr marL="0" indent="0">
              <a:lnSpc>
                <a:spcPct val="90000"/>
              </a:lnSpc>
              <a:defRPr lang="ru-RU" sz="2400" b="0" i="0" cap="none" spc="0" baseline="0" dirty="0">
                <a:solidFill>
                  <a:schemeClr val="bg1"/>
                </a:solidFill>
                <a:latin typeface="+mj-lt"/>
                <a:ea typeface="Beeline Sans V0.3 Regular" pitchFamily="2" charset="0"/>
                <a:cs typeface="Arial Black" panose="020B0604020202020204" pitchFamily="34" charset="0"/>
              </a:defRPr>
            </a:lvl1pPr>
          </a:lstStyle>
          <a:p>
            <a:pPr marR="0" lvl="0" fontAlgn="auto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None/>
              <a:tabLst/>
            </a:pPr>
            <a:r>
              <a:rPr lang="en-US"/>
              <a:t>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AA8B74B-4316-4C99-B9E6-F4851A3F3F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819" y="5903100"/>
            <a:ext cx="231093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57197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23FADE-92D3-45D1-B6E6-7139B1CC9827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959017062"/>
              </p:ext>
            </p:extLst>
          </p:nvPr>
        </p:nvGraphicFramePr>
        <p:xfrm>
          <a:off x="1365" y="1680"/>
          <a:ext cx="1365" cy="16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96" name="think-cell Slide" r:id="rId34" imgW="383" imgH="385" progId="TCLayout.ActiveDocument.1">
                  <p:embed/>
                </p:oleObj>
              </mc:Choice>
              <mc:Fallback>
                <p:oleObj name="think-cell Slide" r:id="rId34" imgW="383" imgH="38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023FADE-92D3-45D1-B6E6-7139B1CC98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365" y="1680"/>
                        <a:ext cx="1365" cy="16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Date Placeholder 44"/>
          <p:cNvSpPr>
            <a:spLocks noGrp="1"/>
          </p:cNvSpPr>
          <p:nvPr>
            <p:ph type="dt" sz="half" idx="2"/>
          </p:nvPr>
        </p:nvSpPr>
        <p:spPr>
          <a:xfrm>
            <a:off x="6427025" y="6515939"/>
            <a:ext cx="1585944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b="0" i="0" kern="1200">
                <a:solidFill>
                  <a:schemeClr val="bg2"/>
                </a:solidFill>
                <a:latin typeface="+mn-lt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6D97EEE-F498-4AF5-A47F-ADF567E05B3B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46" name="Slide Number Placeholder 45"/>
          <p:cNvSpPr>
            <a:spLocks noGrp="1"/>
          </p:cNvSpPr>
          <p:nvPr>
            <p:ph type="sldNum" sz="quarter" idx="4"/>
          </p:nvPr>
        </p:nvSpPr>
        <p:spPr>
          <a:xfrm>
            <a:off x="8975963" y="6515939"/>
            <a:ext cx="619638" cy="11429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 i="0">
                <a:solidFill>
                  <a:schemeClr val="bg2"/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fld id="{41EDA0AC-921D-4240-B96C-50D45375267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48C2397F-F942-DC46-9EA6-5BB12E6C82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0398" y="580410"/>
            <a:ext cx="9285203" cy="83588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endParaRPr lang="ru-RU" dirty="0"/>
          </a:p>
        </p:txBody>
      </p:sp>
      <p:sp>
        <p:nvSpPr>
          <p:cNvPr id="2" name="Нижний колонтитул 1">
            <a:extLst>
              <a:ext uri="{FF2B5EF4-FFF2-40B4-BE49-F238E27FC236}">
                <a16:creationId xmlns:a16="http://schemas.microsoft.com/office/drawing/2014/main" id="{D99B9253-9BC8-E447-9F4A-509310A383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3534" y="6515939"/>
            <a:ext cx="3095068" cy="13715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ru-RU" sz="900" kern="1200" dirty="0">
                <a:solidFill>
                  <a:schemeClr val="bg2"/>
                </a:solidFill>
                <a:latin typeface="+mn-lt"/>
                <a:ea typeface="Beeline Sans V0.3 Regular" pitchFamily="2" charset="0"/>
                <a:cs typeface="Arial" charset="0"/>
              </a:defRPr>
            </a:lvl1pPr>
          </a:lstStyle>
          <a:p>
            <a:r>
              <a:rPr lang="ru-RU" dirty="0"/>
              <a:t>Конфиденциально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45D79341-37E5-48A7-BE50-7CC99888ED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0398" y="1577975"/>
            <a:ext cx="9286040" cy="47720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90492" lvl="0" indent="-190492">
              <a:spcBef>
                <a:spcPts val="0"/>
              </a:spcBef>
              <a:spcAft>
                <a:spcPts val="317"/>
              </a:spcAft>
              <a:buClr>
                <a:schemeClr val="accent1"/>
              </a:buClr>
            </a:pPr>
            <a:r>
              <a:rPr lang="en-US" dirty="0"/>
              <a:t>Edit master text slides</a:t>
            </a:r>
          </a:p>
          <a:p>
            <a:pPr marL="209205" lvl="1" indent="-190492">
              <a:spcBef>
                <a:spcPts val="0"/>
              </a:spcBef>
              <a:spcAft>
                <a:spcPts val="317"/>
              </a:spcAft>
              <a:buClr>
                <a:schemeClr val="accent1"/>
              </a:buClr>
            </a:pPr>
            <a:r>
              <a:rPr lang="en-US" dirty="0"/>
              <a:t>First level</a:t>
            </a:r>
          </a:p>
        </p:txBody>
      </p:sp>
    </p:spTree>
    <p:extLst>
      <p:ext uri="{BB962C8B-B14F-4D97-AF65-F5344CB8AC3E}">
        <p14:creationId xmlns:p14="http://schemas.microsoft.com/office/powerpoint/2010/main" val="222296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4" r:id="rId1"/>
    <p:sldLayoutId id="2147484253" r:id="rId2"/>
    <p:sldLayoutId id="2147484223" r:id="rId3"/>
    <p:sldLayoutId id="2147484224" r:id="rId4"/>
    <p:sldLayoutId id="2147484225" r:id="rId5"/>
    <p:sldLayoutId id="2147484226" r:id="rId6"/>
    <p:sldLayoutId id="2147484227" r:id="rId7"/>
    <p:sldLayoutId id="2147484228" r:id="rId8"/>
    <p:sldLayoutId id="2147484229" r:id="rId9"/>
    <p:sldLayoutId id="2147484252" r:id="rId10"/>
    <p:sldLayoutId id="2147484230" r:id="rId11"/>
    <p:sldLayoutId id="2147484231" r:id="rId12"/>
    <p:sldLayoutId id="2147484232" r:id="rId13"/>
    <p:sldLayoutId id="2147484233" r:id="rId14"/>
    <p:sldLayoutId id="2147484234" r:id="rId15"/>
    <p:sldLayoutId id="2147484235" r:id="rId16"/>
    <p:sldLayoutId id="2147484236" r:id="rId17"/>
    <p:sldLayoutId id="2147484237" r:id="rId18"/>
    <p:sldLayoutId id="2147484238" r:id="rId19"/>
    <p:sldLayoutId id="2147484239" r:id="rId20"/>
    <p:sldLayoutId id="2147484240" r:id="rId21"/>
    <p:sldLayoutId id="2147484241" r:id="rId22"/>
    <p:sldLayoutId id="2147484242" r:id="rId23"/>
    <p:sldLayoutId id="2147484243" r:id="rId24"/>
    <p:sldLayoutId id="2147484245" r:id="rId25"/>
    <p:sldLayoutId id="2147484246" r:id="rId26"/>
    <p:sldLayoutId id="2147484248" r:id="rId27"/>
    <p:sldLayoutId id="2147484249" r:id="rId28"/>
    <p:sldLayoutId id="2147484250" r:id="rId29"/>
    <p:sldLayoutId id="2147484251" r:id="rId30"/>
  </p:sldLayoutIdLst>
  <p:transition>
    <p:fade/>
  </p:transition>
  <p:hf hdr="0"/>
  <p:txStyles>
    <p:titleStyle>
      <a:lvl1pPr marL="0" marR="0" indent="0" algn="l" defTabSz="967698" rtl="0" eaLnBrk="1" fontAlgn="auto" latinLnBrk="0" hangingPunct="1">
        <a:lnSpc>
          <a:spcPct val="9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lang="ru-RU" sz="2400" b="0" i="0" kern="1200" cap="none" spc="0" baseline="0" dirty="0">
          <a:solidFill>
            <a:schemeClr val="tx1"/>
          </a:solidFill>
          <a:latin typeface="Times New Roman" panose="02020603050405020304" pitchFamily="18" charset="0"/>
          <a:ea typeface="Beeline Sans V0.3 Regular" pitchFamily="2" charset="0"/>
          <a:cs typeface="Arial Black" charset="0"/>
        </a:defRPr>
      </a:lvl1pPr>
    </p:titleStyle>
    <p:bodyStyle>
      <a:lvl1pPr marL="0" indent="-190492" algn="l" defTabSz="967698" rtl="0" eaLnBrk="1" latinLnBrk="0" hangingPunct="1">
        <a:spcBef>
          <a:spcPts val="0"/>
        </a:spcBef>
        <a:spcAft>
          <a:spcPts val="300"/>
        </a:spcAft>
        <a:buFont typeface="Arial" pitchFamily="34" charset="0"/>
        <a:buNone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630238" indent="-611188" algn="l" defTabSz="967698" rtl="0" eaLnBrk="1" latinLnBrk="0" hangingPunct="1"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36638" indent="-679450" algn="l" defTabSz="967698" rtl="0" eaLnBrk="1" latinLnBrk="0" hangingPunct="1">
        <a:spcBef>
          <a:spcPts val="0"/>
        </a:spcBef>
        <a:spcAft>
          <a:spcPts val="300"/>
        </a:spcAft>
        <a:buFont typeface="Courier New" panose="02070309020205020404" pitchFamily="49" charset="0"/>
        <a:buChar char="o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693472" indent="-190492" algn="l" defTabSz="967698" rtl="0" eaLnBrk="1" latinLnBrk="0" hangingPunct="1">
        <a:spcBef>
          <a:spcPts val="0"/>
        </a:spcBef>
        <a:spcAft>
          <a:spcPts val="300"/>
        </a:spcAft>
        <a:buFont typeface="Arial" pitchFamily="34" charset="0"/>
        <a:buChar char="–"/>
        <a:defRPr lang="en-US" sz="1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61966" indent="0" algn="l" defTabSz="967698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None/>
        <a:defRPr lang="ru-RU" sz="10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661168" indent="-241924" algn="l" defTabSz="967698" rtl="0" eaLnBrk="1" latinLnBrk="0" hangingPunct="1">
        <a:spcBef>
          <a:spcPct val="20000"/>
        </a:spcBef>
        <a:buFont typeface="Arial" pitchFamily="34" charset="0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6pPr>
      <a:lvl7pPr marL="3145017" indent="-241924" algn="l" defTabSz="967698" rtl="0" eaLnBrk="1" latinLnBrk="0" hangingPunct="1">
        <a:spcBef>
          <a:spcPct val="20000"/>
        </a:spcBef>
        <a:buFont typeface="Arial" pitchFamily="34" charset="0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7pPr>
      <a:lvl8pPr marL="3628866" indent="-241924" algn="l" defTabSz="967698" rtl="0" eaLnBrk="1" latinLnBrk="0" hangingPunct="1">
        <a:spcBef>
          <a:spcPct val="20000"/>
        </a:spcBef>
        <a:buFont typeface="Arial" pitchFamily="34" charset="0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8pPr>
      <a:lvl9pPr marL="4112715" indent="-241924" algn="l" defTabSz="967698" rtl="0" eaLnBrk="1" latinLnBrk="0" hangingPunct="1">
        <a:spcBef>
          <a:spcPct val="20000"/>
        </a:spcBef>
        <a:buFont typeface="Arial" pitchFamily="34" charset="0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698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49" algn="l" defTabSz="967698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698" algn="l" defTabSz="967698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46" algn="l" defTabSz="967698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395" algn="l" defTabSz="967698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44" algn="l" defTabSz="967698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094" algn="l" defTabSz="967698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41" algn="l" defTabSz="967698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790" algn="l" defTabSz="967698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5" pos="194">
          <p15:clr>
            <a:srgbClr val="5ACBF0"/>
          </p15:clr>
        </p15:guide>
        <p15:guide id="8" orient="horz" pos="4104">
          <p15:clr>
            <a:srgbClr val="5ACBF0"/>
          </p15:clr>
        </p15:guide>
        <p15:guide id="36" orient="horz" pos="2160">
          <p15:clr>
            <a:srgbClr val="5ACBF0"/>
          </p15:clr>
        </p15:guide>
        <p15:guide id="52" pos="3050">
          <p15:clr>
            <a:srgbClr val="5ACBF0"/>
          </p15:clr>
        </p15:guide>
        <p15:guide id="62" pos="6045">
          <p15:clr>
            <a:srgbClr val="5ACBF0"/>
          </p15:clr>
        </p15:guide>
        <p15:guide id="68" orient="horz" pos="364">
          <p15:clr>
            <a:srgbClr val="5ACBF0"/>
          </p15:clr>
        </p15:guide>
        <p15:guide id="70" orient="horz" pos="171">
          <p15:clr>
            <a:srgbClr val="5ACBF0"/>
          </p15:clr>
        </p15:guide>
        <p15:guide id="72" orient="horz" pos="994">
          <p15:clr>
            <a:srgbClr val="5ACBF0"/>
          </p15:clr>
        </p15:guide>
        <p15:guide id="73" pos="3120">
          <p15:clr>
            <a:srgbClr val="F26B43"/>
          </p15:clr>
        </p15:guide>
        <p15:guide id="74" orient="horz" pos="892">
          <p15:clr>
            <a:srgbClr val="5ACBF0"/>
          </p15:clr>
        </p15:guide>
        <p15:guide id="87" pos="3190">
          <p15:clr>
            <a:srgbClr val="5ACBF0"/>
          </p15:clr>
        </p15:guide>
        <p15:guide id="89" pos="2121">
          <p15:clr>
            <a:srgbClr val="5ACBF0"/>
          </p15:clr>
        </p15:guide>
        <p15:guide id="90" pos="1623">
          <p15:clr>
            <a:srgbClr val="5ACBF0"/>
          </p15:clr>
        </p15:guide>
        <p15:guide id="91" pos="1553">
          <p15:clr>
            <a:srgbClr val="5ACBF0"/>
          </p15:clr>
        </p15:guide>
        <p15:guide id="92" pos="1692">
          <p15:clr>
            <a:srgbClr val="5ACBF0"/>
          </p15:clr>
        </p15:guide>
        <p15:guide id="93" pos="2051">
          <p15:clr>
            <a:srgbClr val="5ACBF0"/>
          </p15:clr>
        </p15:guide>
        <p15:guide id="94" pos="2191">
          <p15:clr>
            <a:srgbClr val="5ACBF0"/>
          </p15:clr>
        </p15:guide>
        <p15:guide id="95" pos="4048">
          <p15:clr>
            <a:srgbClr val="5ACBF0"/>
          </p15:clr>
        </p15:guide>
        <p15:guide id="96" pos="4188">
          <p15:clr>
            <a:srgbClr val="5ACBF0"/>
          </p15:clr>
        </p15:guide>
        <p15:guide id="97" pos="4118">
          <p15:clr>
            <a:srgbClr val="5ACBF0"/>
          </p15:clr>
        </p15:guide>
        <p15:guide id="98" pos="4548">
          <p15:clr>
            <a:srgbClr val="5ACBF0"/>
          </p15:clr>
        </p15:guide>
        <p15:guide id="99" pos="4617">
          <p15:clr>
            <a:srgbClr val="5ACBF0"/>
          </p15:clr>
        </p15:guide>
        <p15:guide id="100" pos="4688">
          <p15:clr>
            <a:srgbClr val="5ACBF0"/>
          </p15:clr>
        </p15:guide>
        <p15:guide id="101" orient="horz" pos="246">
          <p15:clr>
            <a:srgbClr val="5ACBF0"/>
          </p15:clr>
        </p15:guide>
        <p15:guide id="102" orient="horz" pos="4003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4E0C127-BA25-4693-A2BB-B51EE401D31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sz="2400" dirty="0"/>
              <a:t>Проект делали ученицы 7 «в» класса Воропаева Евгения и </a:t>
            </a:r>
            <a:r>
              <a:rPr lang="ru-RU" sz="2400" dirty="0" err="1"/>
              <a:t>Каляма</a:t>
            </a:r>
            <a:r>
              <a:rPr lang="ru-RU" sz="2400" dirty="0"/>
              <a:t> Екатерина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FABD975-1EF1-490A-B564-74ADE569A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65981"/>
            <a:ext cx="9906000" cy="1969829"/>
          </a:xfrm>
        </p:spPr>
        <p:txBody>
          <a:bodyPr/>
          <a:lstStyle/>
          <a:p>
            <a:pPr algn="ctr"/>
            <a:r>
              <a:rPr lang="ru-RU" sz="4800" dirty="0"/>
              <a:t>Определение запыленности воздуха по листьям деревьев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23301C-EB13-4B06-8A26-08AFBD6C786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9393CA7-2EC0-4E9C-9DD1-4DE862F8B042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41EDA0AC-921D-4240-B96C-50D453752670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186083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051D041-421E-4300-91A8-3CA2BFF23851}"/>
              </a:ext>
            </a:extLst>
          </p:cNvPr>
          <p:cNvSpPr>
            <a:spLocks noGrp="1"/>
          </p:cNvSpPr>
          <p:nvPr>
            <p:ph type="title"/>
          </p:nvPr>
        </p:nvSpPr>
        <p:spPr/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3600" dirty="0"/>
              <a:t>Наш проект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1AD1EAD-5D8A-4816-B4C0-B4B3E8976DF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09563" y="1576387"/>
            <a:ext cx="9286875" cy="4715631"/>
          </a:xfrm>
        </p:spPr>
        <p:txBody>
          <a:bodyPr/>
          <a:lstStyle/>
          <a:p>
            <a:pPr marL="266708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</a:rPr>
              <a:t>Цель проекта: определить запыленность воздуха в преображенском районе</a:t>
            </a:r>
          </a:p>
          <a:p>
            <a:pPr marL="266708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</a:rPr>
              <a:t>Задачи проекта: -выбрать точки сбора листьев, собрать листья, составить карту, сделать анализ запыленности, провести апробацию, защитить сам проект и выполнить рефлексию. </a:t>
            </a:r>
          </a:p>
          <a:p>
            <a:pPr marL="266708" indent="-457200">
              <a:buFont typeface="Arial" panose="020B0604020202020204" pitchFamily="34" charset="0"/>
              <a:buChar char="•"/>
            </a:pPr>
            <a:r>
              <a:rPr lang="ru-RU" sz="3200" dirty="0">
                <a:solidFill>
                  <a:schemeClr val="tx1"/>
                </a:solidFill>
              </a:rPr>
              <a:t>Актуальность нашего проекта: люди интересуются экологией своего района, и поэтому захотят что-то уяснить из своего проекта, мы же поможем им уяснить</a:t>
            </a:r>
            <a:r>
              <a:rPr lang="ru-RU" sz="3200" dirty="0">
                <a:solidFill>
                  <a:schemeClr val="tx1"/>
                </a:solidFill>
                <a:sym typeface="Wingdings" panose="05000000000000000000" pitchFamily="2" charset="2"/>
              </a:rPr>
              <a:t></a:t>
            </a:r>
            <a:r>
              <a:rPr lang="ru-RU" sz="3200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406D503-32A4-44E9-B7F1-EBE4024DAA19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41EDA0AC-921D-4240-B96C-50D453752670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33884071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A63F4D5-CD94-426F-B252-747F5E8DEE28}"/>
              </a:ext>
            </a:extLst>
          </p:cNvPr>
          <p:cNvSpPr>
            <a:spLocks noGrp="1"/>
          </p:cNvSpPr>
          <p:nvPr>
            <p:ph type="title"/>
          </p:nvPr>
        </p:nvSpPr>
        <p:spPr/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3200" dirty="0"/>
              <a:t>Методика сбора листьев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05F6ACC-BD59-401B-B268-69BD4EF3B75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09564" y="1576388"/>
            <a:ext cx="9286038" cy="3674342"/>
          </a:xfrm>
        </p:spPr>
        <p:txBody>
          <a:bodyPr/>
          <a:lstStyle/>
          <a:p>
            <a:r>
              <a:rPr lang="ru-RU" sz="2400" dirty="0">
                <a:solidFill>
                  <a:schemeClr val="tx1"/>
                </a:solidFill>
              </a:rPr>
              <a:t>Мы ходили по району и собирали листья с разных деревьев. В основном это были березы и осины, но встречались также клен и дуб. Мы срывали листья с нижних веток, куда вероятнее всего мог дуть ветер. Далее мы наклеивали на листья скотч, чтобы оценить уровень грязи или пыли на них. Наклеивали скотч на бумагу и отмечали уровень как-раз таки запыленности на основании количества пыли на скотче. Далее все листья были отмечены как точки на карте. Их у нас получилось 13. Далее мы отмечали местонахождение точек на карте. У нас получились изолинии, на которых был виден разный уровень запыленности.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9D618CE-BD78-43A8-A446-5789617DBA37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41EDA0AC-921D-4240-B96C-50D453752670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480834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E58971B-DAA6-46B0-B8B2-05F70A803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9818" y="537701"/>
            <a:ext cx="9286364" cy="83817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3200" dirty="0"/>
              <a:t>Таблица значений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D98D43-0604-44A9-BE01-F73C7CA476C6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09563" y="1576388"/>
            <a:ext cx="9286875" cy="3042746"/>
          </a:xfrm>
        </p:spPr>
        <p:txBody>
          <a:bodyPr/>
          <a:lstStyle/>
          <a:p>
            <a:r>
              <a:rPr lang="ru-RU" sz="2400" dirty="0">
                <a:solidFill>
                  <a:schemeClr val="tx1"/>
                </a:solidFill>
              </a:rPr>
              <a:t>Сама таблица у нас в печатном виде, но сейчас я кратко объясню как она была построена и зачем она нужна. </a:t>
            </a:r>
          </a:p>
          <a:p>
            <a:r>
              <a:rPr lang="ru-RU" sz="2400" dirty="0">
                <a:solidFill>
                  <a:schemeClr val="tx1"/>
                </a:solidFill>
              </a:rPr>
              <a:t>Все знают, что у нас в школе есть такой предмет как статистика. Этот предмет помогает изучать и правильно анализировать данные. Таблицы помогают их выстраивать и находить нужные значения.</a:t>
            </a:r>
          </a:p>
          <a:p>
            <a:r>
              <a:rPr lang="ru-RU" sz="2400" dirty="0">
                <a:solidFill>
                  <a:schemeClr val="tx1"/>
                </a:solidFill>
              </a:rPr>
              <a:t>Таблицу значений мы выстраивали так: мы брали точку и смотрели, какая запыленность стоит на ней, и записывали значения в таблицу. </a:t>
            </a:r>
          </a:p>
          <a:p>
            <a:r>
              <a:rPr lang="ru-RU" sz="2400" dirty="0">
                <a:solidFill>
                  <a:schemeClr val="tx1"/>
                </a:solidFill>
              </a:rPr>
              <a:t>Например: точка 1 с запыленностью 4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704862-A52B-4895-9EDB-4A7EFBF42B31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41EDA0AC-921D-4240-B96C-50D453752670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77862373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C8EFEB2-4DA5-468E-8E3A-A09E4741A339}"/>
              </a:ext>
            </a:extLst>
          </p:cNvPr>
          <p:cNvSpPr>
            <a:spLocks noGrp="1"/>
          </p:cNvSpPr>
          <p:nvPr>
            <p:ph type="title"/>
          </p:nvPr>
        </p:nvSpPr>
        <p:spPr/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algn="ctr"/>
            <a:r>
              <a:rPr lang="ru-RU" sz="3200" dirty="0"/>
              <a:t>Выводы проекта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DEC9D5A-12EC-4BA4-97B5-55C9F3A9166E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09563" y="1576387"/>
            <a:ext cx="9286875" cy="3353831"/>
          </a:xfrm>
        </p:spPr>
        <p:txBody>
          <a:bodyPr/>
          <a:lstStyle/>
          <a:p>
            <a:r>
              <a:rPr lang="ru-RU" sz="2400" dirty="0">
                <a:solidFill>
                  <a:schemeClr val="tx1"/>
                </a:solidFill>
              </a:rPr>
              <a:t>По карте запыленности мы выяснили, что частоты карты и запыленность смещаются на северо-запад, это значит, что ветер дует с юго-востока и несет грязь на север. На юго-востоке и в центре изолиний чище, так как основная пыль летит на север. 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2FD3233-DB26-4CEE-A52A-7BAD17D430BB}"/>
              </a:ext>
            </a:extLst>
          </p:cNvPr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fld id="{31A9D956-A766-4795-A8D1-3BFC1184EE6E}" type="datetime1">
              <a:rPr lang="ru-RU" smtClean="0"/>
              <a:pPr/>
              <a:t>15.12.2023</a:t>
            </a:fld>
            <a:endParaRPr lang="ru-RU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13AD3AD-E799-4762-AF66-5EFB935284B5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ru-RU"/>
              <a:t>Конфиденциально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7185CD-072A-429A-8CFC-41C31ED21E18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41EDA0AC-921D-4240-B96C-50D453752670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781173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4_TeDo basic template_blue">
  <a:themeElements>
    <a:clrScheme name="TeDo ppt color palette">
      <a:dk1>
        <a:srgbClr val="424242"/>
      </a:dk1>
      <a:lt1>
        <a:srgbClr val="FFFFFF"/>
      </a:lt1>
      <a:dk2>
        <a:srgbClr val="000000"/>
      </a:dk2>
      <a:lt2>
        <a:srgbClr val="CCCCCC"/>
      </a:lt2>
      <a:accent1>
        <a:srgbClr val="0048F4"/>
      </a:accent1>
      <a:accent2>
        <a:srgbClr val="559BDE"/>
      </a:accent2>
      <a:accent3>
        <a:srgbClr val="E67369"/>
      </a:accent3>
      <a:accent4>
        <a:srgbClr val="FC9744"/>
      </a:accent4>
      <a:accent5>
        <a:srgbClr val="C84B78"/>
      </a:accent5>
      <a:accent6>
        <a:srgbClr val="644173"/>
      </a:accent6>
      <a:hlink>
        <a:srgbClr val="0048F4"/>
      </a:hlink>
      <a:folHlink>
        <a:srgbClr val="CCCCCC"/>
      </a:folHlink>
    </a:clrScheme>
    <a:fontScheme name="Custom 5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sz="1400" dirty="0" err="1" smtClean="0">
            <a:latin typeface="Arial" charset="0"/>
            <a:ea typeface="Arial" charset="0"/>
            <a:cs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atus red 1">
      <a:srgbClr val="D73224"/>
    </a:custClr>
    <a:custClr name="Status red 2">
      <a:srgbClr val="E67369"/>
    </a:custClr>
    <a:custClr name="Status red 3">
      <a:srgbClr val="EB9089"/>
    </a:custClr>
    <a:custClr name="Status red 4">
      <a:srgbClr val="F0ABA5"/>
    </a:custClr>
    <a:custClr name="Status red 5">
      <a:srgbClr val="F5C8C3"/>
    </a:custClr>
    <a:custClr name="Status red 6">
      <a:srgbClr val="FAE3E1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Status yellow 1">
      <a:srgbClr val="F9D039"/>
    </a:custClr>
    <a:custClr name="Status yellow 2">
      <a:srgbClr val="FAD447"/>
    </a:custClr>
    <a:custClr name="Status yellow 3">
      <a:srgbClr val="FBDB68"/>
    </a:custClr>
    <a:custClr name="Status yellow 4">
      <a:srgbClr val="FCE388"/>
    </a:custClr>
    <a:custClr name="Status yellow 5">
      <a:srgbClr val="FCEBA9"/>
    </a:custClr>
    <a:custClr name="Status yellow 6">
      <a:srgbClr val="FCF2C9"/>
    </a:custClr>
    <a:custClr name="BLANK">
      <a:srgbClr val="FFFFFF"/>
    </a:custClr>
    <a:custClr name="BLANK">
      <a:srgbClr val="FFFFFF"/>
    </a:custClr>
    <a:custClr name="BLANK">
      <a:srgbClr val="FFFFFF"/>
    </a:custClr>
    <a:custClr name="BLANK">
      <a:srgbClr val="FFFFFF"/>
    </a:custClr>
    <a:custClr name="Status green 1">
      <a:srgbClr val="61AB78"/>
    </a:custClr>
    <a:custClr name="Status green 2">
      <a:srgbClr val="79B88C"/>
    </a:custClr>
    <a:custClr name="Status green 3">
      <a:srgbClr val="91C4A1"/>
    </a:custClr>
    <a:custClr name="Status green 4">
      <a:srgbClr val="A8D1B5"/>
    </a:custClr>
    <a:custClr name="Status green 5">
      <a:srgbClr val="BFDDC9"/>
    </a:custClr>
    <a:custClr name="Status green 6">
      <a:srgbClr val="D6EADD"/>
    </a:custClr>
  </a:custClrLst>
  <a:extLst>
    <a:ext uri="{05A4C25C-085E-4340-85A3-A5531E510DB2}">
      <thm15:themeFamily xmlns:thm15="http://schemas.microsoft.com/office/thememl/2012/main" name="A4_TeDo basic template_blue" id="{88213E94-80FF-425E-BAC9-07F9EB713199}" vid="{30285D10-1598-437C-B04D-FE859E2E3DAB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02</TotalTime>
  <Words>338</Words>
  <Application>Microsoft Office PowerPoint</Application>
  <PresentationFormat>A4 Paper (210x297 mm)</PresentationFormat>
  <Paragraphs>22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Beeline Sans V0.3 Regular</vt:lpstr>
      <vt:lpstr>Arial</vt:lpstr>
      <vt:lpstr>Arial Black</vt:lpstr>
      <vt:lpstr>Courier New</vt:lpstr>
      <vt:lpstr>Tahoma</vt:lpstr>
      <vt:lpstr>Times New Roman</vt:lpstr>
      <vt:lpstr>Wingdings</vt:lpstr>
      <vt:lpstr>A4_TeDo basic template_blue</vt:lpstr>
      <vt:lpstr>think-cell Slide</vt:lpstr>
      <vt:lpstr>Определение запыленности воздуха по листьям деревьев</vt:lpstr>
      <vt:lpstr>Наш проект</vt:lpstr>
      <vt:lpstr>Методика сбора листьев</vt:lpstr>
      <vt:lpstr>Таблица значений</vt:lpstr>
      <vt:lpstr>Выводы проект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yona Voropaeva</dc:creator>
  <cp:lastModifiedBy>Alyona Voropaeva</cp:lastModifiedBy>
  <cp:revision>8</cp:revision>
  <dcterms:created xsi:type="dcterms:W3CDTF">2023-12-15T16:56:08Z</dcterms:created>
  <dcterms:modified xsi:type="dcterms:W3CDTF">2023-12-15T18:39:07Z</dcterms:modified>
</cp:coreProperties>
</file>